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95" r:id="rId1"/>
    <p:sldMasterId id="2147485046" r:id="rId2"/>
    <p:sldMasterId id="2147485047" r:id="rId3"/>
    <p:sldMasterId id="2147485049" r:id="rId4"/>
  </p:sldMasterIdLst>
  <p:notesMasterIdLst>
    <p:notesMasterId r:id="rId6"/>
  </p:notesMasterIdLst>
  <p:sldIdLst>
    <p:sldId id="44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urak Horata" initials="BH" lastIdx="1" clrIdx="0">
    <p:extLst>
      <p:ext uri="{19B8F6BF-5375-455C-9EA6-DF929625EA0E}">
        <p15:presenceInfo xmlns:p15="http://schemas.microsoft.com/office/powerpoint/2012/main" userId="S::b.horata@criteo.com::51d77154-6cd4-462d-aa31-be95cd9b23d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1414"/>
    <a:srgbClr val="00436E"/>
    <a:srgbClr val="8F319F"/>
    <a:srgbClr val="134EB9"/>
    <a:srgbClr val="282828"/>
    <a:srgbClr val="53BD80"/>
    <a:srgbClr val="3FA96C"/>
    <a:srgbClr val="2D788C"/>
    <a:srgbClr val="631F22"/>
    <a:srgbClr val="A8A8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15" autoAdjust="0"/>
    <p:restoredTop sz="77136" autoAdjust="0"/>
  </p:normalViewPr>
  <p:slideViewPr>
    <p:cSldViewPr snapToGrid="0">
      <p:cViewPr varScale="1">
        <p:scale>
          <a:sx n="66" d="100"/>
          <a:sy n="66" d="100"/>
        </p:scale>
        <p:origin x="893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8" d="100"/>
          <a:sy n="98" d="100"/>
        </p:scale>
        <p:origin x="391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E777DE-60E3-4B17-8D8E-1A80332E074C}" type="datetimeFigureOut">
              <a:rPr lang="en-US" smtClean="0"/>
              <a:t>12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B1CEEC-61E6-41FB-9E69-59257D2EA8C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97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1CEEC-61E6-41FB-9E69-59257D2EA8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695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l">
              <a:defRPr b="0"/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/>
              <a:t>Source:</a:t>
            </a:r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  <a:ea typeface="Hurme FIN Mono 1a Bold" panose="020B0609030202010107" pitchFamily="49" charset="0"/>
              </a:rPr>
              <a:pPr algn="ctr"/>
              <a:t>‹N°›</a:t>
            </a:fld>
            <a:endParaRPr lang="en-GB" sz="1000" b="1">
              <a:solidFill>
                <a:schemeClr val="tx1"/>
              </a:solidFill>
              <a:latin typeface="HurmeGeometricSans1 Regular" panose="020B0500020000000000" pitchFamily="34" charset="0"/>
              <a:ea typeface="Hurme FIN Mono 1a Bold" panose="020B0609030202010107" pitchFamily="49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70300"/>
          </a:xfrm>
        </p:spPr>
        <p:txBody>
          <a:bodyPr>
            <a:noAutofit/>
          </a:bodyPr>
          <a:lstStyle>
            <a:lvl1pPr algn="l">
              <a:defRPr sz="1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Body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404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White -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2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723E72EC-2BC2-4156-8A0B-3AB3B2510DE8}"/>
              </a:ext>
            </a:extLst>
          </p:cNvPr>
          <p:cNvSpPr/>
          <p:nvPr/>
        </p:nvSpPr>
        <p:spPr>
          <a:xfrm>
            <a:off x="7374222" y="1393312"/>
            <a:ext cx="4071375" cy="4071375"/>
          </a:xfrm>
          <a:custGeom>
            <a:avLst/>
            <a:gdLst>
              <a:gd name="connsiteX0" fmla="*/ 4071375 w 4071375"/>
              <a:gd name="connsiteY0" fmla="*/ 2035688 h 4071375"/>
              <a:gd name="connsiteX1" fmla="*/ 2035688 w 4071375"/>
              <a:gd name="connsiteY1" fmla="*/ 4071375 h 4071375"/>
              <a:gd name="connsiteX2" fmla="*/ 0 w 4071375"/>
              <a:gd name="connsiteY2" fmla="*/ 2035688 h 4071375"/>
              <a:gd name="connsiteX3" fmla="*/ 2035688 w 4071375"/>
              <a:gd name="connsiteY3" fmla="*/ 0 h 4071375"/>
              <a:gd name="connsiteX4" fmla="*/ 4071375 w 4071375"/>
              <a:gd name="connsiteY4" fmla="*/ 2035688 h 407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375" h="4071375">
                <a:moveTo>
                  <a:pt x="4071375" y="2035688"/>
                </a:moveTo>
                <a:cubicBezTo>
                  <a:pt x="4071375" y="3159967"/>
                  <a:pt x="3159967" y="4071375"/>
                  <a:pt x="2035688" y="4071375"/>
                </a:cubicBezTo>
                <a:cubicBezTo>
                  <a:pt x="911408" y="4071375"/>
                  <a:pt x="0" y="3159967"/>
                  <a:pt x="0" y="2035688"/>
                </a:cubicBezTo>
                <a:cubicBezTo>
                  <a:pt x="0" y="911408"/>
                  <a:pt x="911408" y="0"/>
                  <a:pt x="2035688" y="0"/>
                </a:cubicBezTo>
                <a:cubicBezTo>
                  <a:pt x="3159967" y="0"/>
                  <a:pt x="4071375" y="911408"/>
                  <a:pt x="4071375" y="2035688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Graphic 6">
            <a:extLst>
              <a:ext uri="{FF2B5EF4-FFF2-40B4-BE49-F238E27FC236}">
                <a16:creationId xmlns:a16="http://schemas.microsoft.com/office/drawing/2014/main" id="{E6CDD9AB-DCFD-4DF4-A5E1-CB630FB3C1A2}"/>
              </a:ext>
            </a:extLst>
          </p:cNvPr>
          <p:cNvSpPr/>
          <p:nvPr/>
        </p:nvSpPr>
        <p:spPr>
          <a:xfrm>
            <a:off x="11436373" y="2286765"/>
            <a:ext cx="1072855" cy="3073972"/>
          </a:xfrm>
          <a:custGeom>
            <a:avLst/>
            <a:gdLst>
              <a:gd name="connsiteX0" fmla="*/ 266005 w 1072855"/>
              <a:gd name="connsiteY0" fmla="*/ 3073972 h 3073972"/>
              <a:gd name="connsiteX1" fmla="*/ 109461 w 1072855"/>
              <a:gd name="connsiteY1" fmla="*/ 3023235 h 3073972"/>
              <a:gd name="connsiteX2" fmla="*/ 50680 w 1072855"/>
              <a:gd name="connsiteY2" fmla="*/ 2651366 h 3073972"/>
              <a:gd name="connsiteX3" fmla="*/ 415742 w 1072855"/>
              <a:gd name="connsiteY3" fmla="*/ 1936091 h 3073972"/>
              <a:gd name="connsiteX4" fmla="*/ 540730 w 1072855"/>
              <a:gd name="connsiteY4" fmla="*/ 1142235 h 3073972"/>
              <a:gd name="connsiteX5" fmla="*/ 415742 w 1072855"/>
              <a:gd name="connsiteY5" fmla="*/ 348379 h 3073972"/>
              <a:gd name="connsiteX6" fmla="*/ 586518 w 1072855"/>
              <a:gd name="connsiteY6" fmla="*/ 13016 h 3073972"/>
              <a:gd name="connsiteX7" fmla="*/ 921880 w 1072855"/>
              <a:gd name="connsiteY7" fmla="*/ 183791 h 3073972"/>
              <a:gd name="connsiteX8" fmla="*/ 1072855 w 1072855"/>
              <a:gd name="connsiteY8" fmla="*/ 1141616 h 3073972"/>
              <a:gd name="connsiteX9" fmla="*/ 921880 w 1072855"/>
              <a:gd name="connsiteY9" fmla="*/ 2099441 h 3073972"/>
              <a:gd name="connsiteX10" fmla="*/ 480711 w 1072855"/>
              <a:gd name="connsiteY10" fmla="*/ 2963835 h 3073972"/>
              <a:gd name="connsiteX11" fmla="*/ 266005 w 1072855"/>
              <a:gd name="connsiteY11" fmla="*/ 3073972 h 307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72855" h="3073972">
                <a:moveTo>
                  <a:pt x="266005" y="3073972"/>
                </a:moveTo>
                <a:cubicBezTo>
                  <a:pt x="211555" y="3073972"/>
                  <a:pt x="157105" y="3057266"/>
                  <a:pt x="109461" y="3023235"/>
                </a:cubicBezTo>
                <a:cubicBezTo>
                  <a:pt x="-9339" y="2936610"/>
                  <a:pt x="-35326" y="2770166"/>
                  <a:pt x="50680" y="2651366"/>
                </a:cubicBezTo>
                <a:cubicBezTo>
                  <a:pt x="209699" y="2432947"/>
                  <a:pt x="332830" y="2192254"/>
                  <a:pt x="415742" y="1936091"/>
                </a:cubicBezTo>
                <a:cubicBezTo>
                  <a:pt x="498655" y="1680547"/>
                  <a:pt x="540730" y="1413866"/>
                  <a:pt x="540730" y="1142235"/>
                </a:cubicBezTo>
                <a:cubicBezTo>
                  <a:pt x="540730" y="870603"/>
                  <a:pt x="498655" y="603922"/>
                  <a:pt x="415742" y="348379"/>
                </a:cubicBezTo>
                <a:cubicBezTo>
                  <a:pt x="370574" y="208541"/>
                  <a:pt x="446680" y="58803"/>
                  <a:pt x="586518" y="13016"/>
                </a:cubicBezTo>
                <a:cubicBezTo>
                  <a:pt x="726355" y="-32153"/>
                  <a:pt x="876092" y="43953"/>
                  <a:pt x="921880" y="183791"/>
                </a:cubicBezTo>
                <a:cubicBezTo>
                  <a:pt x="1022117" y="492547"/>
                  <a:pt x="1072855" y="814916"/>
                  <a:pt x="1072855" y="1141616"/>
                </a:cubicBezTo>
                <a:cubicBezTo>
                  <a:pt x="1072855" y="1468316"/>
                  <a:pt x="1022117" y="1791304"/>
                  <a:pt x="921880" y="2099441"/>
                </a:cubicBezTo>
                <a:cubicBezTo>
                  <a:pt x="821643" y="2408816"/>
                  <a:pt x="673143" y="2699629"/>
                  <a:pt x="480711" y="2963835"/>
                </a:cubicBezTo>
                <a:cubicBezTo>
                  <a:pt x="429355" y="3036228"/>
                  <a:pt x="348299" y="3073972"/>
                  <a:pt x="266005" y="3073972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5387310E-7F05-4114-81F2-4053569CC46E}"/>
              </a:ext>
            </a:extLst>
          </p:cNvPr>
          <p:cNvSpPr/>
          <p:nvPr/>
        </p:nvSpPr>
        <p:spPr>
          <a:xfrm>
            <a:off x="9143847" y="329062"/>
            <a:ext cx="2197742" cy="1072912"/>
          </a:xfrm>
          <a:custGeom>
            <a:avLst/>
            <a:gdLst>
              <a:gd name="connsiteX0" fmla="*/ 1931738 w 2197742"/>
              <a:gd name="connsiteY0" fmla="*/ 1072913 h 1072912"/>
              <a:gd name="connsiteX1" fmla="*/ 1775194 w 2197742"/>
              <a:gd name="connsiteY1" fmla="*/ 1022175 h 1072912"/>
              <a:gd name="connsiteX2" fmla="*/ 1059919 w 2197742"/>
              <a:gd name="connsiteY2" fmla="*/ 657113 h 1072912"/>
              <a:gd name="connsiteX3" fmla="*/ 266063 w 2197742"/>
              <a:gd name="connsiteY3" fmla="*/ 532125 h 1072912"/>
              <a:gd name="connsiteX4" fmla="*/ 0 w 2197742"/>
              <a:gd name="connsiteY4" fmla="*/ 266063 h 1072912"/>
              <a:gd name="connsiteX5" fmla="*/ 266063 w 2197742"/>
              <a:gd name="connsiteY5" fmla="*/ 0 h 1072912"/>
              <a:gd name="connsiteX6" fmla="*/ 1223888 w 2197742"/>
              <a:gd name="connsiteY6" fmla="*/ 150975 h 1072912"/>
              <a:gd name="connsiteX7" fmla="*/ 2088281 w 2197742"/>
              <a:gd name="connsiteY7" fmla="*/ 592144 h 1072912"/>
              <a:gd name="connsiteX8" fmla="*/ 2147063 w 2197742"/>
              <a:gd name="connsiteY8" fmla="*/ 964012 h 1072912"/>
              <a:gd name="connsiteX9" fmla="*/ 1931738 w 2197742"/>
              <a:gd name="connsiteY9" fmla="*/ 1072913 h 107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742" h="1072912">
                <a:moveTo>
                  <a:pt x="1931738" y="1072913"/>
                </a:moveTo>
                <a:cubicBezTo>
                  <a:pt x="1877288" y="1072913"/>
                  <a:pt x="1822838" y="1056206"/>
                  <a:pt x="1775194" y="1022175"/>
                </a:cubicBezTo>
                <a:cubicBezTo>
                  <a:pt x="1556775" y="863156"/>
                  <a:pt x="1316081" y="740025"/>
                  <a:pt x="1059919" y="657113"/>
                </a:cubicBezTo>
                <a:cubicBezTo>
                  <a:pt x="804375" y="574200"/>
                  <a:pt x="537694" y="532125"/>
                  <a:pt x="266063" y="532125"/>
                </a:cubicBezTo>
                <a:cubicBezTo>
                  <a:pt x="119419" y="532125"/>
                  <a:pt x="0" y="412706"/>
                  <a:pt x="0" y="266063"/>
                </a:cubicBezTo>
                <a:cubicBezTo>
                  <a:pt x="0" y="119419"/>
                  <a:pt x="119419" y="0"/>
                  <a:pt x="266063" y="0"/>
                </a:cubicBezTo>
                <a:cubicBezTo>
                  <a:pt x="593381" y="0"/>
                  <a:pt x="915750" y="50737"/>
                  <a:pt x="1223888" y="150975"/>
                </a:cubicBezTo>
                <a:cubicBezTo>
                  <a:pt x="1533263" y="251213"/>
                  <a:pt x="1824075" y="399713"/>
                  <a:pt x="2088281" y="592144"/>
                </a:cubicBezTo>
                <a:cubicBezTo>
                  <a:pt x="2207082" y="678769"/>
                  <a:pt x="2233069" y="845213"/>
                  <a:pt x="2147063" y="964012"/>
                </a:cubicBezTo>
                <a:cubicBezTo>
                  <a:pt x="2095088" y="1035169"/>
                  <a:pt x="2014031" y="1072913"/>
                  <a:pt x="1931738" y="107291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Graphic 6">
            <a:extLst>
              <a:ext uri="{FF2B5EF4-FFF2-40B4-BE49-F238E27FC236}">
                <a16:creationId xmlns:a16="http://schemas.microsoft.com/office/drawing/2014/main" id="{1EA9CE54-28D7-4249-AC89-C36183AFEA86}"/>
              </a:ext>
            </a:extLst>
          </p:cNvPr>
          <p:cNvSpPr/>
          <p:nvPr/>
        </p:nvSpPr>
        <p:spPr>
          <a:xfrm>
            <a:off x="6447696" y="869639"/>
            <a:ext cx="1562811" cy="1949273"/>
          </a:xfrm>
          <a:custGeom>
            <a:avLst/>
            <a:gdLst>
              <a:gd name="connsiteX0" fmla="*/ 266320 w 1562811"/>
              <a:gd name="connsiteY0" fmla="*/ 1949273 h 1949273"/>
              <a:gd name="connsiteX1" fmla="*/ 184026 w 1562811"/>
              <a:gd name="connsiteY1" fmla="*/ 1936279 h 1949273"/>
              <a:gd name="connsiteX2" fmla="*/ 13251 w 1562811"/>
              <a:gd name="connsiteY2" fmla="*/ 1600917 h 1949273"/>
              <a:gd name="connsiteX3" fmla="*/ 454420 w 1562811"/>
              <a:gd name="connsiteY3" fmla="*/ 736523 h 1949273"/>
              <a:gd name="connsiteX4" fmla="*/ 1139995 w 1562811"/>
              <a:gd name="connsiteY4" fmla="*/ 50948 h 1949273"/>
              <a:gd name="connsiteX5" fmla="*/ 1511864 w 1562811"/>
              <a:gd name="connsiteY5" fmla="*/ 109729 h 1949273"/>
              <a:gd name="connsiteX6" fmla="*/ 1453082 w 1562811"/>
              <a:gd name="connsiteY6" fmla="*/ 481598 h 1949273"/>
              <a:gd name="connsiteX7" fmla="*/ 884451 w 1562811"/>
              <a:gd name="connsiteY7" fmla="*/ 1050229 h 1949273"/>
              <a:gd name="connsiteX8" fmla="*/ 519389 w 1562811"/>
              <a:gd name="connsiteY8" fmla="*/ 1765504 h 1949273"/>
              <a:gd name="connsiteX9" fmla="*/ 266320 w 1562811"/>
              <a:gd name="connsiteY9" fmla="*/ 1949273 h 19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2811" h="1949273">
                <a:moveTo>
                  <a:pt x="266320" y="1949273"/>
                </a:moveTo>
                <a:cubicBezTo>
                  <a:pt x="239095" y="1949273"/>
                  <a:pt x="211251" y="1944942"/>
                  <a:pt x="184026" y="1936279"/>
                </a:cubicBezTo>
                <a:cubicBezTo>
                  <a:pt x="44188" y="1891110"/>
                  <a:pt x="-32536" y="1740754"/>
                  <a:pt x="13251" y="1600917"/>
                </a:cubicBezTo>
                <a:cubicBezTo>
                  <a:pt x="113489" y="1291542"/>
                  <a:pt x="261989" y="1000729"/>
                  <a:pt x="454420" y="736523"/>
                </a:cubicBezTo>
                <a:cubicBezTo>
                  <a:pt x="646232" y="472935"/>
                  <a:pt x="876407" y="242760"/>
                  <a:pt x="1139995" y="50948"/>
                </a:cubicBezTo>
                <a:cubicBezTo>
                  <a:pt x="1258795" y="-35677"/>
                  <a:pt x="1425239" y="-9071"/>
                  <a:pt x="1511864" y="109729"/>
                </a:cubicBezTo>
                <a:cubicBezTo>
                  <a:pt x="1598489" y="228529"/>
                  <a:pt x="1571882" y="394973"/>
                  <a:pt x="1453082" y="481598"/>
                </a:cubicBezTo>
                <a:cubicBezTo>
                  <a:pt x="1234664" y="640617"/>
                  <a:pt x="1043470" y="831810"/>
                  <a:pt x="884451" y="1050229"/>
                </a:cubicBezTo>
                <a:cubicBezTo>
                  <a:pt x="725432" y="1268648"/>
                  <a:pt x="602301" y="1509342"/>
                  <a:pt x="519389" y="1765504"/>
                </a:cubicBezTo>
                <a:cubicBezTo>
                  <a:pt x="482882" y="1878117"/>
                  <a:pt x="378314" y="1949273"/>
                  <a:pt x="266320" y="194927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Graphic 6">
            <a:extLst>
              <a:ext uri="{FF2B5EF4-FFF2-40B4-BE49-F238E27FC236}">
                <a16:creationId xmlns:a16="http://schemas.microsoft.com/office/drawing/2014/main" id="{329B7472-309C-455C-8D51-791C335BEEA7}"/>
              </a:ext>
            </a:extLst>
          </p:cNvPr>
          <p:cNvSpPr/>
          <p:nvPr/>
        </p:nvSpPr>
        <p:spPr>
          <a:xfrm>
            <a:off x="6447931" y="4038446"/>
            <a:ext cx="935164" cy="1322291"/>
          </a:xfrm>
          <a:custGeom>
            <a:avLst/>
            <a:gdLst>
              <a:gd name="connsiteX0" fmla="*/ 669510 w 935164"/>
              <a:gd name="connsiteY0" fmla="*/ 1322291 h 1322291"/>
              <a:gd name="connsiteX1" fmla="*/ 454185 w 935164"/>
              <a:gd name="connsiteY1" fmla="*/ 1212772 h 1322291"/>
              <a:gd name="connsiteX2" fmla="*/ 13016 w 935164"/>
              <a:gd name="connsiteY2" fmla="*/ 348379 h 1322291"/>
              <a:gd name="connsiteX3" fmla="*/ 183791 w 935164"/>
              <a:gd name="connsiteY3" fmla="*/ 13016 h 1322291"/>
              <a:gd name="connsiteX4" fmla="*/ 519154 w 935164"/>
              <a:gd name="connsiteY4" fmla="*/ 183791 h 1322291"/>
              <a:gd name="connsiteX5" fmla="*/ 884216 w 935164"/>
              <a:gd name="connsiteY5" fmla="*/ 899066 h 1322291"/>
              <a:gd name="connsiteX6" fmla="*/ 825435 w 935164"/>
              <a:gd name="connsiteY6" fmla="*/ 1270935 h 1322291"/>
              <a:gd name="connsiteX7" fmla="*/ 669510 w 935164"/>
              <a:gd name="connsiteY7" fmla="*/ 1322291 h 132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5164" h="1322291">
                <a:moveTo>
                  <a:pt x="669510" y="1322291"/>
                </a:moveTo>
                <a:cubicBezTo>
                  <a:pt x="587216" y="1322291"/>
                  <a:pt x="506160" y="1284547"/>
                  <a:pt x="454185" y="1212772"/>
                </a:cubicBezTo>
                <a:cubicBezTo>
                  <a:pt x="261754" y="948566"/>
                  <a:pt x="113872" y="657754"/>
                  <a:pt x="13016" y="348379"/>
                </a:cubicBezTo>
                <a:cubicBezTo>
                  <a:pt x="-32153" y="208541"/>
                  <a:pt x="43953" y="58804"/>
                  <a:pt x="183791" y="13016"/>
                </a:cubicBezTo>
                <a:cubicBezTo>
                  <a:pt x="323629" y="-32153"/>
                  <a:pt x="473366" y="43953"/>
                  <a:pt x="519154" y="183791"/>
                </a:cubicBezTo>
                <a:cubicBezTo>
                  <a:pt x="602066" y="439953"/>
                  <a:pt x="725197" y="680647"/>
                  <a:pt x="884216" y="899066"/>
                </a:cubicBezTo>
                <a:cubicBezTo>
                  <a:pt x="970841" y="1017866"/>
                  <a:pt x="944235" y="1184310"/>
                  <a:pt x="825435" y="1270935"/>
                </a:cubicBezTo>
                <a:cubicBezTo>
                  <a:pt x="778410" y="1306204"/>
                  <a:pt x="723960" y="1322291"/>
                  <a:pt x="669510" y="1322291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8F8B30FD-E3E1-4208-A464-1CDDD5B8FF75}"/>
              </a:ext>
            </a:extLst>
          </p:cNvPr>
          <p:cNvSpPr/>
          <p:nvPr/>
        </p:nvSpPr>
        <p:spPr>
          <a:xfrm>
            <a:off x="7478229" y="5455463"/>
            <a:ext cx="2197742" cy="1073473"/>
          </a:xfrm>
          <a:custGeom>
            <a:avLst/>
            <a:gdLst>
              <a:gd name="connsiteX0" fmla="*/ 1931680 w 2197742"/>
              <a:gd name="connsiteY0" fmla="*/ 1073474 h 1073473"/>
              <a:gd name="connsiteX1" fmla="*/ 973855 w 2197742"/>
              <a:gd name="connsiteY1" fmla="*/ 922499 h 1073473"/>
              <a:gd name="connsiteX2" fmla="*/ 109461 w 2197742"/>
              <a:gd name="connsiteY2" fmla="*/ 481330 h 1073473"/>
              <a:gd name="connsiteX3" fmla="*/ 50680 w 2197742"/>
              <a:gd name="connsiteY3" fmla="*/ 109461 h 1073473"/>
              <a:gd name="connsiteX4" fmla="*/ 422549 w 2197742"/>
              <a:gd name="connsiteY4" fmla="*/ 50680 h 1073473"/>
              <a:gd name="connsiteX5" fmla="*/ 1137824 w 2197742"/>
              <a:gd name="connsiteY5" fmla="*/ 415742 h 1073473"/>
              <a:gd name="connsiteX6" fmla="*/ 1931680 w 2197742"/>
              <a:gd name="connsiteY6" fmla="*/ 540730 h 1073473"/>
              <a:gd name="connsiteX7" fmla="*/ 2197743 w 2197742"/>
              <a:gd name="connsiteY7" fmla="*/ 806793 h 1073473"/>
              <a:gd name="connsiteX8" fmla="*/ 1931680 w 2197742"/>
              <a:gd name="connsiteY8" fmla="*/ 1073474 h 1073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7742" h="1073473">
                <a:moveTo>
                  <a:pt x="1931680" y="1073474"/>
                </a:moveTo>
                <a:cubicBezTo>
                  <a:pt x="1604361" y="1073474"/>
                  <a:pt x="1281993" y="1022737"/>
                  <a:pt x="973855" y="922499"/>
                </a:cubicBezTo>
                <a:cubicBezTo>
                  <a:pt x="664480" y="822261"/>
                  <a:pt x="373668" y="673761"/>
                  <a:pt x="109461" y="481330"/>
                </a:cubicBezTo>
                <a:cubicBezTo>
                  <a:pt x="-9339" y="394705"/>
                  <a:pt x="-35326" y="228261"/>
                  <a:pt x="50680" y="109461"/>
                </a:cubicBezTo>
                <a:cubicBezTo>
                  <a:pt x="137305" y="-9339"/>
                  <a:pt x="303749" y="-35326"/>
                  <a:pt x="422549" y="50680"/>
                </a:cubicBezTo>
                <a:cubicBezTo>
                  <a:pt x="640968" y="209699"/>
                  <a:pt x="881661" y="332830"/>
                  <a:pt x="1137824" y="415742"/>
                </a:cubicBezTo>
                <a:cubicBezTo>
                  <a:pt x="1393368" y="498655"/>
                  <a:pt x="1660049" y="540730"/>
                  <a:pt x="1931680" y="540730"/>
                </a:cubicBezTo>
                <a:cubicBezTo>
                  <a:pt x="2078324" y="540730"/>
                  <a:pt x="2197743" y="660149"/>
                  <a:pt x="2197743" y="806793"/>
                </a:cubicBezTo>
                <a:cubicBezTo>
                  <a:pt x="2197743" y="953436"/>
                  <a:pt x="2078324" y="1073474"/>
                  <a:pt x="1931680" y="1073474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Graphic 6">
            <a:extLst>
              <a:ext uri="{FF2B5EF4-FFF2-40B4-BE49-F238E27FC236}">
                <a16:creationId xmlns:a16="http://schemas.microsoft.com/office/drawing/2014/main" id="{7CE09225-5C6D-4AF7-8811-059B0A4621EA}"/>
              </a:ext>
            </a:extLst>
          </p:cNvPr>
          <p:cNvSpPr/>
          <p:nvPr/>
        </p:nvSpPr>
        <p:spPr>
          <a:xfrm>
            <a:off x="12292723" y="1960065"/>
            <a:ext cx="1275186" cy="4022515"/>
          </a:xfrm>
          <a:custGeom>
            <a:avLst/>
            <a:gdLst>
              <a:gd name="connsiteX0" fmla="*/ 266005 w 1275186"/>
              <a:gd name="connsiteY0" fmla="*/ 4022516 h 4022515"/>
              <a:gd name="connsiteX1" fmla="*/ 109461 w 1275186"/>
              <a:gd name="connsiteY1" fmla="*/ 3971779 h 4022515"/>
              <a:gd name="connsiteX2" fmla="*/ 50680 w 1275186"/>
              <a:gd name="connsiteY2" fmla="*/ 3599910 h 4022515"/>
              <a:gd name="connsiteX3" fmla="*/ 566099 w 1275186"/>
              <a:gd name="connsiteY3" fmla="*/ 2589491 h 4022515"/>
              <a:gd name="connsiteX4" fmla="*/ 742443 w 1275186"/>
              <a:gd name="connsiteY4" fmla="*/ 1468935 h 4022515"/>
              <a:gd name="connsiteX5" fmla="*/ 566099 w 1275186"/>
              <a:gd name="connsiteY5" fmla="*/ 348378 h 4022515"/>
              <a:gd name="connsiteX6" fmla="*/ 736874 w 1275186"/>
              <a:gd name="connsiteY6" fmla="*/ 13016 h 4022515"/>
              <a:gd name="connsiteX7" fmla="*/ 1072236 w 1275186"/>
              <a:gd name="connsiteY7" fmla="*/ 183791 h 4022515"/>
              <a:gd name="connsiteX8" fmla="*/ 1275187 w 1275186"/>
              <a:gd name="connsiteY8" fmla="*/ 1468935 h 4022515"/>
              <a:gd name="connsiteX9" fmla="*/ 1072856 w 1275186"/>
              <a:gd name="connsiteY9" fmla="*/ 2754079 h 4022515"/>
              <a:gd name="connsiteX10" fmla="*/ 481330 w 1275186"/>
              <a:gd name="connsiteY10" fmla="*/ 3912997 h 4022515"/>
              <a:gd name="connsiteX11" fmla="*/ 266005 w 1275186"/>
              <a:gd name="connsiteY11" fmla="*/ 4022516 h 4022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186" h="4022515">
                <a:moveTo>
                  <a:pt x="266005" y="4022516"/>
                </a:moveTo>
                <a:cubicBezTo>
                  <a:pt x="211555" y="4022516"/>
                  <a:pt x="157105" y="4005810"/>
                  <a:pt x="109461" y="3971779"/>
                </a:cubicBezTo>
                <a:cubicBezTo>
                  <a:pt x="-9338" y="3885154"/>
                  <a:pt x="-35326" y="3718710"/>
                  <a:pt x="50680" y="3599910"/>
                </a:cubicBezTo>
                <a:cubicBezTo>
                  <a:pt x="275287" y="3291154"/>
                  <a:pt x="449155" y="2951460"/>
                  <a:pt x="566099" y="2589491"/>
                </a:cubicBezTo>
                <a:cubicBezTo>
                  <a:pt x="683043" y="2228760"/>
                  <a:pt x="742443" y="1851941"/>
                  <a:pt x="742443" y="1468935"/>
                </a:cubicBezTo>
                <a:cubicBezTo>
                  <a:pt x="742443" y="1085928"/>
                  <a:pt x="683043" y="708491"/>
                  <a:pt x="566099" y="348378"/>
                </a:cubicBezTo>
                <a:cubicBezTo>
                  <a:pt x="520930" y="208541"/>
                  <a:pt x="597037" y="58803"/>
                  <a:pt x="736874" y="13016"/>
                </a:cubicBezTo>
                <a:cubicBezTo>
                  <a:pt x="876711" y="-32153"/>
                  <a:pt x="1026449" y="43954"/>
                  <a:pt x="1072236" y="183791"/>
                </a:cubicBezTo>
                <a:cubicBezTo>
                  <a:pt x="1207124" y="597735"/>
                  <a:pt x="1275187" y="1030241"/>
                  <a:pt x="1275187" y="1468935"/>
                </a:cubicBezTo>
                <a:cubicBezTo>
                  <a:pt x="1275187" y="1907629"/>
                  <a:pt x="1207124" y="2340135"/>
                  <a:pt x="1072856" y="2754079"/>
                </a:cubicBezTo>
                <a:cubicBezTo>
                  <a:pt x="937968" y="3169260"/>
                  <a:pt x="739349" y="3559072"/>
                  <a:pt x="481330" y="3912997"/>
                </a:cubicBezTo>
                <a:cubicBezTo>
                  <a:pt x="429356" y="3984772"/>
                  <a:pt x="348299" y="4022516"/>
                  <a:pt x="266005" y="4022516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Graphic 6">
            <a:extLst>
              <a:ext uri="{FF2B5EF4-FFF2-40B4-BE49-F238E27FC236}">
                <a16:creationId xmlns:a16="http://schemas.microsoft.com/office/drawing/2014/main" id="{E038AA9E-8D22-4829-9DEC-ADC1592F51B9}"/>
              </a:ext>
            </a:extLst>
          </p:cNvPr>
          <p:cNvSpPr/>
          <p:nvPr/>
        </p:nvSpPr>
        <p:spPr>
          <a:xfrm>
            <a:off x="6856117" y="-729000"/>
            <a:ext cx="5107315" cy="1275243"/>
          </a:xfrm>
          <a:custGeom>
            <a:avLst/>
            <a:gdLst>
              <a:gd name="connsiteX0" fmla="*/ 4841311 w 5107315"/>
              <a:gd name="connsiteY0" fmla="*/ 1275244 h 1275243"/>
              <a:gd name="connsiteX1" fmla="*/ 4684767 w 5107315"/>
              <a:gd name="connsiteY1" fmla="*/ 1224506 h 1275243"/>
              <a:gd name="connsiteX2" fmla="*/ 3674348 w 5107315"/>
              <a:gd name="connsiteY2" fmla="*/ 709088 h 1275243"/>
              <a:gd name="connsiteX3" fmla="*/ 2553792 w 5107315"/>
              <a:gd name="connsiteY3" fmla="*/ 532125 h 1275243"/>
              <a:gd name="connsiteX4" fmla="*/ 1433236 w 5107315"/>
              <a:gd name="connsiteY4" fmla="*/ 708469 h 1275243"/>
              <a:gd name="connsiteX5" fmla="*/ 422817 w 5107315"/>
              <a:gd name="connsiteY5" fmla="*/ 1223888 h 1275243"/>
              <a:gd name="connsiteX6" fmla="*/ 50948 w 5107315"/>
              <a:gd name="connsiteY6" fmla="*/ 1165106 h 1275243"/>
              <a:gd name="connsiteX7" fmla="*/ 109729 w 5107315"/>
              <a:gd name="connsiteY7" fmla="*/ 793238 h 1275243"/>
              <a:gd name="connsiteX8" fmla="*/ 1268648 w 5107315"/>
              <a:gd name="connsiteY8" fmla="*/ 201712 h 1275243"/>
              <a:gd name="connsiteX9" fmla="*/ 2553792 w 5107315"/>
              <a:gd name="connsiteY9" fmla="*/ 0 h 1275243"/>
              <a:gd name="connsiteX10" fmla="*/ 3838936 w 5107315"/>
              <a:gd name="connsiteY10" fmla="*/ 202331 h 1275243"/>
              <a:gd name="connsiteX11" fmla="*/ 4997855 w 5107315"/>
              <a:gd name="connsiteY11" fmla="*/ 793856 h 1275243"/>
              <a:gd name="connsiteX12" fmla="*/ 5056636 w 5107315"/>
              <a:gd name="connsiteY12" fmla="*/ 1165725 h 1275243"/>
              <a:gd name="connsiteX13" fmla="*/ 4841311 w 5107315"/>
              <a:gd name="connsiteY13" fmla="*/ 1275244 h 1275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07315" h="1275243">
                <a:moveTo>
                  <a:pt x="4841311" y="1275244"/>
                </a:moveTo>
                <a:cubicBezTo>
                  <a:pt x="4786861" y="1275244"/>
                  <a:pt x="4732411" y="1258538"/>
                  <a:pt x="4684767" y="1224506"/>
                </a:cubicBezTo>
                <a:cubicBezTo>
                  <a:pt x="4376011" y="999900"/>
                  <a:pt x="4036317" y="826031"/>
                  <a:pt x="3674348" y="709088"/>
                </a:cubicBezTo>
                <a:cubicBezTo>
                  <a:pt x="3314236" y="591525"/>
                  <a:pt x="2936798" y="532125"/>
                  <a:pt x="2553792" y="532125"/>
                </a:cubicBezTo>
                <a:cubicBezTo>
                  <a:pt x="2170786" y="532125"/>
                  <a:pt x="1793348" y="591525"/>
                  <a:pt x="1433236" y="708469"/>
                </a:cubicBezTo>
                <a:cubicBezTo>
                  <a:pt x="1071886" y="826031"/>
                  <a:pt x="731573" y="999281"/>
                  <a:pt x="422817" y="1223888"/>
                </a:cubicBezTo>
                <a:cubicBezTo>
                  <a:pt x="304017" y="1310513"/>
                  <a:pt x="137573" y="1283906"/>
                  <a:pt x="50948" y="1165106"/>
                </a:cubicBezTo>
                <a:cubicBezTo>
                  <a:pt x="-35677" y="1046306"/>
                  <a:pt x="-9071" y="879863"/>
                  <a:pt x="109729" y="793238"/>
                </a:cubicBezTo>
                <a:cubicBezTo>
                  <a:pt x="463654" y="535219"/>
                  <a:pt x="854085" y="336600"/>
                  <a:pt x="1268648" y="201712"/>
                </a:cubicBezTo>
                <a:cubicBezTo>
                  <a:pt x="1682592" y="68063"/>
                  <a:pt x="2115098" y="0"/>
                  <a:pt x="2553792" y="0"/>
                </a:cubicBezTo>
                <a:cubicBezTo>
                  <a:pt x="2992486" y="0"/>
                  <a:pt x="3424992" y="68063"/>
                  <a:pt x="3838936" y="202331"/>
                </a:cubicBezTo>
                <a:cubicBezTo>
                  <a:pt x="4254117" y="337219"/>
                  <a:pt x="4643930" y="535838"/>
                  <a:pt x="4997855" y="793856"/>
                </a:cubicBezTo>
                <a:cubicBezTo>
                  <a:pt x="5116654" y="880481"/>
                  <a:pt x="5142642" y="1046925"/>
                  <a:pt x="5056636" y="1165725"/>
                </a:cubicBezTo>
                <a:cubicBezTo>
                  <a:pt x="5004661" y="1237500"/>
                  <a:pt x="4923605" y="1275244"/>
                  <a:pt x="4841311" y="1275244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Graphic 6">
            <a:extLst>
              <a:ext uri="{FF2B5EF4-FFF2-40B4-BE49-F238E27FC236}">
                <a16:creationId xmlns:a16="http://schemas.microsoft.com/office/drawing/2014/main" id="{C8012D67-BBD7-43B2-B37A-18A31D521B76}"/>
              </a:ext>
            </a:extLst>
          </p:cNvPr>
          <p:cNvSpPr/>
          <p:nvPr/>
        </p:nvSpPr>
        <p:spPr>
          <a:xfrm>
            <a:off x="5251909" y="1959830"/>
            <a:ext cx="721719" cy="2938082"/>
          </a:xfrm>
          <a:custGeom>
            <a:avLst/>
            <a:gdLst>
              <a:gd name="connsiteX0" fmla="*/ 455400 w 721719"/>
              <a:gd name="connsiteY0" fmla="*/ 2938083 h 2938082"/>
              <a:gd name="connsiteX1" fmla="*/ 202331 w 721719"/>
              <a:gd name="connsiteY1" fmla="*/ 2754314 h 2938082"/>
              <a:gd name="connsiteX2" fmla="*/ 0 w 721719"/>
              <a:gd name="connsiteY2" fmla="*/ 1469170 h 2938082"/>
              <a:gd name="connsiteX3" fmla="*/ 202331 w 721719"/>
              <a:gd name="connsiteY3" fmla="*/ 184026 h 2938082"/>
              <a:gd name="connsiteX4" fmla="*/ 537694 w 721719"/>
              <a:gd name="connsiteY4" fmla="*/ 13251 h 2938082"/>
              <a:gd name="connsiteX5" fmla="*/ 708469 w 721719"/>
              <a:gd name="connsiteY5" fmla="*/ 348613 h 2938082"/>
              <a:gd name="connsiteX6" fmla="*/ 532125 w 721719"/>
              <a:gd name="connsiteY6" fmla="*/ 1469170 h 2938082"/>
              <a:gd name="connsiteX7" fmla="*/ 708469 w 721719"/>
              <a:gd name="connsiteY7" fmla="*/ 2589726 h 2938082"/>
              <a:gd name="connsiteX8" fmla="*/ 537694 w 721719"/>
              <a:gd name="connsiteY8" fmla="*/ 2925089 h 2938082"/>
              <a:gd name="connsiteX9" fmla="*/ 455400 w 721719"/>
              <a:gd name="connsiteY9" fmla="*/ 2938083 h 293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19" h="2938082">
                <a:moveTo>
                  <a:pt x="455400" y="2938083"/>
                </a:moveTo>
                <a:cubicBezTo>
                  <a:pt x="343406" y="2938083"/>
                  <a:pt x="238838" y="2866307"/>
                  <a:pt x="202331" y="2754314"/>
                </a:cubicBezTo>
                <a:cubicBezTo>
                  <a:pt x="68063" y="2340370"/>
                  <a:pt x="0" y="1907864"/>
                  <a:pt x="0" y="1469170"/>
                </a:cubicBezTo>
                <a:cubicBezTo>
                  <a:pt x="0" y="1030476"/>
                  <a:pt x="68063" y="597970"/>
                  <a:pt x="202331" y="184026"/>
                </a:cubicBezTo>
                <a:cubicBezTo>
                  <a:pt x="247500" y="44189"/>
                  <a:pt x="397856" y="-32537"/>
                  <a:pt x="537694" y="13251"/>
                </a:cubicBezTo>
                <a:cubicBezTo>
                  <a:pt x="677531" y="58420"/>
                  <a:pt x="754256" y="208776"/>
                  <a:pt x="708469" y="348613"/>
                </a:cubicBezTo>
                <a:cubicBezTo>
                  <a:pt x="591525" y="708726"/>
                  <a:pt x="532125" y="1086163"/>
                  <a:pt x="532125" y="1469170"/>
                </a:cubicBezTo>
                <a:cubicBezTo>
                  <a:pt x="532125" y="1852176"/>
                  <a:pt x="591525" y="2229614"/>
                  <a:pt x="708469" y="2589726"/>
                </a:cubicBezTo>
                <a:cubicBezTo>
                  <a:pt x="753638" y="2729564"/>
                  <a:pt x="677531" y="2879301"/>
                  <a:pt x="537694" y="2925089"/>
                </a:cubicBezTo>
                <a:cubicBezTo>
                  <a:pt x="510469" y="2934370"/>
                  <a:pt x="482625" y="2938083"/>
                  <a:pt x="455400" y="2938083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6">
            <a:extLst>
              <a:ext uri="{FF2B5EF4-FFF2-40B4-BE49-F238E27FC236}">
                <a16:creationId xmlns:a16="http://schemas.microsoft.com/office/drawing/2014/main" id="{09A0ABD0-6607-4169-BE7A-9AC2FB86863C}"/>
              </a:ext>
            </a:extLst>
          </p:cNvPr>
          <p:cNvSpPr/>
          <p:nvPr/>
        </p:nvSpPr>
        <p:spPr>
          <a:xfrm>
            <a:off x="5995436" y="5450864"/>
            <a:ext cx="4884026" cy="2136135"/>
          </a:xfrm>
          <a:custGeom>
            <a:avLst/>
            <a:gdLst>
              <a:gd name="connsiteX0" fmla="*/ 3414473 w 4884026"/>
              <a:gd name="connsiteY0" fmla="*/ 2136136 h 2136135"/>
              <a:gd name="connsiteX1" fmla="*/ 2129329 w 4884026"/>
              <a:gd name="connsiteY1" fmla="*/ 1933805 h 2136135"/>
              <a:gd name="connsiteX2" fmla="*/ 970411 w 4884026"/>
              <a:gd name="connsiteY2" fmla="*/ 1342279 h 2136135"/>
              <a:gd name="connsiteX3" fmla="*/ 50948 w 4884026"/>
              <a:gd name="connsiteY3" fmla="*/ 422817 h 2136135"/>
              <a:gd name="connsiteX4" fmla="*/ 109729 w 4884026"/>
              <a:gd name="connsiteY4" fmla="*/ 50948 h 2136135"/>
              <a:gd name="connsiteX5" fmla="*/ 481598 w 4884026"/>
              <a:gd name="connsiteY5" fmla="*/ 109729 h 2136135"/>
              <a:gd name="connsiteX6" fmla="*/ 1284117 w 4884026"/>
              <a:gd name="connsiteY6" fmla="*/ 912248 h 2136135"/>
              <a:gd name="connsiteX7" fmla="*/ 2294536 w 4884026"/>
              <a:gd name="connsiteY7" fmla="*/ 1427667 h 2136135"/>
              <a:gd name="connsiteX8" fmla="*/ 3415092 w 4884026"/>
              <a:gd name="connsiteY8" fmla="*/ 1604011 h 2136135"/>
              <a:gd name="connsiteX9" fmla="*/ 4535649 w 4884026"/>
              <a:gd name="connsiteY9" fmla="*/ 1427667 h 2136135"/>
              <a:gd name="connsiteX10" fmla="*/ 4871011 w 4884026"/>
              <a:gd name="connsiteY10" fmla="*/ 1598442 h 2136135"/>
              <a:gd name="connsiteX11" fmla="*/ 4700236 w 4884026"/>
              <a:gd name="connsiteY11" fmla="*/ 1933805 h 2136135"/>
              <a:gd name="connsiteX12" fmla="*/ 3414473 w 4884026"/>
              <a:gd name="connsiteY12" fmla="*/ 2136136 h 2136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4026" h="2136135">
                <a:moveTo>
                  <a:pt x="3414473" y="2136136"/>
                </a:moveTo>
                <a:cubicBezTo>
                  <a:pt x="2975779" y="2136136"/>
                  <a:pt x="2543273" y="2068073"/>
                  <a:pt x="2129329" y="1933805"/>
                </a:cubicBezTo>
                <a:cubicBezTo>
                  <a:pt x="1714148" y="1798917"/>
                  <a:pt x="1324336" y="1600298"/>
                  <a:pt x="970411" y="1342279"/>
                </a:cubicBezTo>
                <a:cubicBezTo>
                  <a:pt x="617104" y="1085498"/>
                  <a:pt x="307729" y="776123"/>
                  <a:pt x="50948" y="422817"/>
                </a:cubicBezTo>
                <a:cubicBezTo>
                  <a:pt x="-35677" y="304017"/>
                  <a:pt x="-9071" y="137573"/>
                  <a:pt x="109729" y="50948"/>
                </a:cubicBezTo>
                <a:cubicBezTo>
                  <a:pt x="228529" y="-35677"/>
                  <a:pt x="394973" y="-9071"/>
                  <a:pt x="481598" y="109729"/>
                </a:cubicBezTo>
                <a:cubicBezTo>
                  <a:pt x="706204" y="417867"/>
                  <a:pt x="975979" y="687642"/>
                  <a:pt x="1284117" y="912248"/>
                </a:cubicBezTo>
                <a:cubicBezTo>
                  <a:pt x="1592873" y="1136854"/>
                  <a:pt x="1932567" y="1310723"/>
                  <a:pt x="2294536" y="1427667"/>
                </a:cubicBezTo>
                <a:cubicBezTo>
                  <a:pt x="2655267" y="1544611"/>
                  <a:pt x="3032086" y="1604011"/>
                  <a:pt x="3415092" y="1604011"/>
                </a:cubicBezTo>
                <a:cubicBezTo>
                  <a:pt x="3798098" y="1604011"/>
                  <a:pt x="4175536" y="1544611"/>
                  <a:pt x="4535649" y="1427667"/>
                </a:cubicBezTo>
                <a:cubicBezTo>
                  <a:pt x="4675486" y="1382498"/>
                  <a:pt x="4825223" y="1458604"/>
                  <a:pt x="4871011" y="1598442"/>
                </a:cubicBezTo>
                <a:cubicBezTo>
                  <a:pt x="4916180" y="1738279"/>
                  <a:pt x="4840074" y="1888017"/>
                  <a:pt x="4700236" y="1933805"/>
                </a:cubicBezTo>
                <a:cubicBezTo>
                  <a:pt x="4285673" y="2068073"/>
                  <a:pt x="3853167" y="2136136"/>
                  <a:pt x="3414473" y="2136136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6">
            <a:extLst>
              <a:ext uri="{FF2B5EF4-FFF2-40B4-BE49-F238E27FC236}">
                <a16:creationId xmlns:a16="http://schemas.microsoft.com/office/drawing/2014/main" id="{05247D60-B3EB-4B79-8456-2079F5FF9A68}"/>
              </a:ext>
            </a:extLst>
          </p:cNvPr>
          <p:cNvSpPr/>
          <p:nvPr/>
        </p:nvSpPr>
        <p:spPr>
          <a:xfrm>
            <a:off x="6309972" y="3162937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3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3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6">
            <a:extLst>
              <a:ext uri="{FF2B5EF4-FFF2-40B4-BE49-F238E27FC236}">
                <a16:creationId xmlns:a16="http://schemas.microsoft.com/office/drawing/2014/main" id="{FDE469FA-EA44-421C-97E0-BD156400EC41}"/>
              </a:ext>
            </a:extLst>
          </p:cNvPr>
          <p:cNvSpPr/>
          <p:nvPr/>
        </p:nvSpPr>
        <p:spPr>
          <a:xfrm>
            <a:off x="11436316" y="1497262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6">
            <a:extLst>
              <a:ext uri="{FF2B5EF4-FFF2-40B4-BE49-F238E27FC236}">
                <a16:creationId xmlns:a16="http://schemas.microsoft.com/office/drawing/2014/main" id="{6833BC13-AA0F-4883-B0C6-7CD0AE30BC55}"/>
              </a:ext>
            </a:extLst>
          </p:cNvPr>
          <p:cNvSpPr/>
          <p:nvPr/>
        </p:nvSpPr>
        <p:spPr>
          <a:xfrm>
            <a:off x="8269553" y="457762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4C54CC5E-06DA-4EE1-B442-B57738A4F188}"/>
              </a:ext>
            </a:extLst>
          </p:cNvPr>
          <p:cNvSpPr/>
          <p:nvPr/>
        </p:nvSpPr>
        <p:spPr>
          <a:xfrm>
            <a:off x="5995028" y="875418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6157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6CBEF56-8C41-3B4A-A1A8-1ACA19C4D3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60160" y="-3709158"/>
            <a:ext cx="1022277" cy="207335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ACA05F7-7A04-0241-9A65-27B29AE89B71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53040" y="2521971"/>
            <a:ext cx="10171720" cy="4064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25292C"/>
                </a:solidFill>
                <a:latin typeface="Century Gothic" panose="020B0502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91820D2-09E8-5C4B-A82B-535DC9F75A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60157" y="249837"/>
            <a:ext cx="1022277" cy="207335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FB879A3-13CF-C94E-8EBC-C4B228B4C59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040" y="3407885"/>
            <a:ext cx="10171720" cy="258452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25292C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Body copy goes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in </a:t>
            </a:r>
            <a:r>
              <a:rPr lang="en-US" err="1"/>
              <a:t>congue</a:t>
            </a:r>
            <a:r>
              <a:rPr lang="en-US"/>
              <a:t> nisi.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Nunc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vitae </a:t>
            </a:r>
            <a:r>
              <a:rPr lang="en-US" err="1"/>
              <a:t>commodo</a:t>
            </a:r>
            <a:r>
              <a:rPr lang="en-US"/>
              <a:t> in. Body copy goes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in </a:t>
            </a:r>
            <a:r>
              <a:rPr lang="en-US" err="1"/>
              <a:t>congue</a:t>
            </a:r>
            <a:r>
              <a:rPr lang="en-US"/>
              <a:t> nisi.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Nunc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vitae </a:t>
            </a:r>
            <a:r>
              <a:rPr lang="en-US" err="1"/>
              <a:t>commodo</a:t>
            </a:r>
            <a:r>
              <a:rPr lang="en-US"/>
              <a:t> in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orbi in </a:t>
            </a:r>
            <a:r>
              <a:rPr lang="en-US" err="1"/>
              <a:t>congue</a:t>
            </a:r>
            <a:r>
              <a:rPr lang="en-US"/>
              <a:t> nisi.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Nunc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. </a:t>
            </a:r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dolor, </a:t>
            </a:r>
            <a:r>
              <a:rPr lang="en-US" err="1"/>
              <a:t>iaculis</a:t>
            </a:r>
            <a:r>
              <a:rPr lang="en-US"/>
              <a:t> vitae </a:t>
            </a:r>
            <a:r>
              <a:rPr lang="en-US" err="1"/>
              <a:t>commodo</a:t>
            </a:r>
            <a:r>
              <a:rPr lang="en-US"/>
              <a:t> in.</a:t>
            </a:r>
          </a:p>
          <a:p>
            <a:pPr lvl="0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AD9DCD-C2D1-294B-B7B5-B9F4CB5FA93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3040" y="681412"/>
            <a:ext cx="10171720" cy="1771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 b="1" i="0">
                <a:solidFill>
                  <a:srgbClr val="5D0054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 sz="6000" b="1" i="0">
                <a:latin typeface="Century Gothic" panose="020B0502020202020204" pitchFamily="34" charset="0"/>
              </a:defRPr>
            </a:lvl2pPr>
            <a:lvl3pPr marL="914400" indent="0">
              <a:buNone/>
              <a:defRPr sz="6000" b="1" i="0">
                <a:latin typeface="Century Gothic" panose="020B0502020202020204" pitchFamily="34" charset="0"/>
              </a:defRPr>
            </a:lvl3pPr>
            <a:lvl4pPr marL="1371600" indent="0">
              <a:buNone/>
              <a:defRPr sz="6000" b="1" i="0">
                <a:latin typeface="Century Gothic" panose="020B0502020202020204" pitchFamily="34" charset="0"/>
              </a:defRPr>
            </a:lvl4pPr>
            <a:lvl5pPr marL="1828800" indent="0">
              <a:buNone/>
              <a:defRPr sz="6000" b="1" i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Title Headli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F21B3C-A9C6-F447-8F15-435FBADED172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E3409D29-51D5-6E46-B804-DE7C1D783B47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413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White -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2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/>
              <a:t>Contact information</a:t>
            </a:r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723E72EC-2BC2-4156-8A0B-3AB3B2510DE8}"/>
              </a:ext>
            </a:extLst>
          </p:cNvPr>
          <p:cNvSpPr/>
          <p:nvPr/>
        </p:nvSpPr>
        <p:spPr>
          <a:xfrm>
            <a:off x="7374222" y="1393312"/>
            <a:ext cx="4071375" cy="4071375"/>
          </a:xfrm>
          <a:custGeom>
            <a:avLst/>
            <a:gdLst>
              <a:gd name="connsiteX0" fmla="*/ 4071375 w 4071375"/>
              <a:gd name="connsiteY0" fmla="*/ 2035688 h 4071375"/>
              <a:gd name="connsiteX1" fmla="*/ 2035688 w 4071375"/>
              <a:gd name="connsiteY1" fmla="*/ 4071375 h 4071375"/>
              <a:gd name="connsiteX2" fmla="*/ 0 w 4071375"/>
              <a:gd name="connsiteY2" fmla="*/ 2035688 h 4071375"/>
              <a:gd name="connsiteX3" fmla="*/ 2035688 w 4071375"/>
              <a:gd name="connsiteY3" fmla="*/ 0 h 4071375"/>
              <a:gd name="connsiteX4" fmla="*/ 4071375 w 4071375"/>
              <a:gd name="connsiteY4" fmla="*/ 2035688 h 407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375" h="4071375">
                <a:moveTo>
                  <a:pt x="4071375" y="2035688"/>
                </a:moveTo>
                <a:cubicBezTo>
                  <a:pt x="4071375" y="3159967"/>
                  <a:pt x="3159967" y="4071375"/>
                  <a:pt x="2035688" y="4071375"/>
                </a:cubicBezTo>
                <a:cubicBezTo>
                  <a:pt x="911408" y="4071375"/>
                  <a:pt x="0" y="3159967"/>
                  <a:pt x="0" y="2035688"/>
                </a:cubicBezTo>
                <a:cubicBezTo>
                  <a:pt x="0" y="911408"/>
                  <a:pt x="911408" y="0"/>
                  <a:pt x="2035688" y="0"/>
                </a:cubicBezTo>
                <a:cubicBezTo>
                  <a:pt x="3159967" y="0"/>
                  <a:pt x="4071375" y="911408"/>
                  <a:pt x="4071375" y="2035688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Graphic 6">
            <a:extLst>
              <a:ext uri="{FF2B5EF4-FFF2-40B4-BE49-F238E27FC236}">
                <a16:creationId xmlns:a16="http://schemas.microsoft.com/office/drawing/2014/main" id="{E6CDD9AB-DCFD-4DF4-A5E1-CB630FB3C1A2}"/>
              </a:ext>
            </a:extLst>
          </p:cNvPr>
          <p:cNvSpPr/>
          <p:nvPr/>
        </p:nvSpPr>
        <p:spPr>
          <a:xfrm>
            <a:off x="11436373" y="2286765"/>
            <a:ext cx="1072855" cy="3073972"/>
          </a:xfrm>
          <a:custGeom>
            <a:avLst/>
            <a:gdLst>
              <a:gd name="connsiteX0" fmla="*/ 266005 w 1072855"/>
              <a:gd name="connsiteY0" fmla="*/ 3073972 h 3073972"/>
              <a:gd name="connsiteX1" fmla="*/ 109461 w 1072855"/>
              <a:gd name="connsiteY1" fmla="*/ 3023235 h 3073972"/>
              <a:gd name="connsiteX2" fmla="*/ 50680 w 1072855"/>
              <a:gd name="connsiteY2" fmla="*/ 2651366 h 3073972"/>
              <a:gd name="connsiteX3" fmla="*/ 415742 w 1072855"/>
              <a:gd name="connsiteY3" fmla="*/ 1936091 h 3073972"/>
              <a:gd name="connsiteX4" fmla="*/ 540730 w 1072855"/>
              <a:gd name="connsiteY4" fmla="*/ 1142235 h 3073972"/>
              <a:gd name="connsiteX5" fmla="*/ 415742 w 1072855"/>
              <a:gd name="connsiteY5" fmla="*/ 348379 h 3073972"/>
              <a:gd name="connsiteX6" fmla="*/ 586518 w 1072855"/>
              <a:gd name="connsiteY6" fmla="*/ 13016 h 3073972"/>
              <a:gd name="connsiteX7" fmla="*/ 921880 w 1072855"/>
              <a:gd name="connsiteY7" fmla="*/ 183791 h 3073972"/>
              <a:gd name="connsiteX8" fmla="*/ 1072855 w 1072855"/>
              <a:gd name="connsiteY8" fmla="*/ 1141616 h 3073972"/>
              <a:gd name="connsiteX9" fmla="*/ 921880 w 1072855"/>
              <a:gd name="connsiteY9" fmla="*/ 2099441 h 3073972"/>
              <a:gd name="connsiteX10" fmla="*/ 480711 w 1072855"/>
              <a:gd name="connsiteY10" fmla="*/ 2963835 h 3073972"/>
              <a:gd name="connsiteX11" fmla="*/ 266005 w 1072855"/>
              <a:gd name="connsiteY11" fmla="*/ 3073972 h 307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72855" h="3073972">
                <a:moveTo>
                  <a:pt x="266005" y="3073972"/>
                </a:moveTo>
                <a:cubicBezTo>
                  <a:pt x="211555" y="3073972"/>
                  <a:pt x="157105" y="3057266"/>
                  <a:pt x="109461" y="3023235"/>
                </a:cubicBezTo>
                <a:cubicBezTo>
                  <a:pt x="-9339" y="2936610"/>
                  <a:pt x="-35326" y="2770166"/>
                  <a:pt x="50680" y="2651366"/>
                </a:cubicBezTo>
                <a:cubicBezTo>
                  <a:pt x="209699" y="2432947"/>
                  <a:pt x="332830" y="2192254"/>
                  <a:pt x="415742" y="1936091"/>
                </a:cubicBezTo>
                <a:cubicBezTo>
                  <a:pt x="498655" y="1680547"/>
                  <a:pt x="540730" y="1413866"/>
                  <a:pt x="540730" y="1142235"/>
                </a:cubicBezTo>
                <a:cubicBezTo>
                  <a:pt x="540730" y="870603"/>
                  <a:pt x="498655" y="603922"/>
                  <a:pt x="415742" y="348379"/>
                </a:cubicBezTo>
                <a:cubicBezTo>
                  <a:pt x="370574" y="208541"/>
                  <a:pt x="446680" y="58803"/>
                  <a:pt x="586518" y="13016"/>
                </a:cubicBezTo>
                <a:cubicBezTo>
                  <a:pt x="726355" y="-32153"/>
                  <a:pt x="876092" y="43953"/>
                  <a:pt x="921880" y="183791"/>
                </a:cubicBezTo>
                <a:cubicBezTo>
                  <a:pt x="1022117" y="492547"/>
                  <a:pt x="1072855" y="814916"/>
                  <a:pt x="1072855" y="1141616"/>
                </a:cubicBezTo>
                <a:cubicBezTo>
                  <a:pt x="1072855" y="1468316"/>
                  <a:pt x="1022117" y="1791304"/>
                  <a:pt x="921880" y="2099441"/>
                </a:cubicBezTo>
                <a:cubicBezTo>
                  <a:pt x="821643" y="2408816"/>
                  <a:pt x="673143" y="2699629"/>
                  <a:pt x="480711" y="2963835"/>
                </a:cubicBezTo>
                <a:cubicBezTo>
                  <a:pt x="429355" y="3036228"/>
                  <a:pt x="348299" y="3073972"/>
                  <a:pt x="266005" y="3073972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5387310E-7F05-4114-81F2-4053569CC46E}"/>
              </a:ext>
            </a:extLst>
          </p:cNvPr>
          <p:cNvSpPr/>
          <p:nvPr/>
        </p:nvSpPr>
        <p:spPr>
          <a:xfrm>
            <a:off x="9143847" y="329062"/>
            <a:ext cx="2197742" cy="1072912"/>
          </a:xfrm>
          <a:custGeom>
            <a:avLst/>
            <a:gdLst>
              <a:gd name="connsiteX0" fmla="*/ 1931738 w 2197742"/>
              <a:gd name="connsiteY0" fmla="*/ 1072913 h 1072912"/>
              <a:gd name="connsiteX1" fmla="*/ 1775194 w 2197742"/>
              <a:gd name="connsiteY1" fmla="*/ 1022175 h 1072912"/>
              <a:gd name="connsiteX2" fmla="*/ 1059919 w 2197742"/>
              <a:gd name="connsiteY2" fmla="*/ 657113 h 1072912"/>
              <a:gd name="connsiteX3" fmla="*/ 266063 w 2197742"/>
              <a:gd name="connsiteY3" fmla="*/ 532125 h 1072912"/>
              <a:gd name="connsiteX4" fmla="*/ 0 w 2197742"/>
              <a:gd name="connsiteY4" fmla="*/ 266063 h 1072912"/>
              <a:gd name="connsiteX5" fmla="*/ 266063 w 2197742"/>
              <a:gd name="connsiteY5" fmla="*/ 0 h 1072912"/>
              <a:gd name="connsiteX6" fmla="*/ 1223888 w 2197742"/>
              <a:gd name="connsiteY6" fmla="*/ 150975 h 1072912"/>
              <a:gd name="connsiteX7" fmla="*/ 2088281 w 2197742"/>
              <a:gd name="connsiteY7" fmla="*/ 592144 h 1072912"/>
              <a:gd name="connsiteX8" fmla="*/ 2147063 w 2197742"/>
              <a:gd name="connsiteY8" fmla="*/ 964012 h 1072912"/>
              <a:gd name="connsiteX9" fmla="*/ 1931738 w 2197742"/>
              <a:gd name="connsiteY9" fmla="*/ 1072913 h 107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742" h="1072912">
                <a:moveTo>
                  <a:pt x="1931738" y="1072913"/>
                </a:moveTo>
                <a:cubicBezTo>
                  <a:pt x="1877288" y="1072913"/>
                  <a:pt x="1822838" y="1056206"/>
                  <a:pt x="1775194" y="1022175"/>
                </a:cubicBezTo>
                <a:cubicBezTo>
                  <a:pt x="1556775" y="863156"/>
                  <a:pt x="1316081" y="740025"/>
                  <a:pt x="1059919" y="657113"/>
                </a:cubicBezTo>
                <a:cubicBezTo>
                  <a:pt x="804375" y="574200"/>
                  <a:pt x="537694" y="532125"/>
                  <a:pt x="266063" y="532125"/>
                </a:cubicBezTo>
                <a:cubicBezTo>
                  <a:pt x="119419" y="532125"/>
                  <a:pt x="0" y="412706"/>
                  <a:pt x="0" y="266063"/>
                </a:cubicBezTo>
                <a:cubicBezTo>
                  <a:pt x="0" y="119419"/>
                  <a:pt x="119419" y="0"/>
                  <a:pt x="266063" y="0"/>
                </a:cubicBezTo>
                <a:cubicBezTo>
                  <a:pt x="593381" y="0"/>
                  <a:pt x="915750" y="50737"/>
                  <a:pt x="1223888" y="150975"/>
                </a:cubicBezTo>
                <a:cubicBezTo>
                  <a:pt x="1533263" y="251213"/>
                  <a:pt x="1824075" y="399713"/>
                  <a:pt x="2088281" y="592144"/>
                </a:cubicBezTo>
                <a:cubicBezTo>
                  <a:pt x="2207082" y="678769"/>
                  <a:pt x="2233069" y="845213"/>
                  <a:pt x="2147063" y="964012"/>
                </a:cubicBezTo>
                <a:cubicBezTo>
                  <a:pt x="2095088" y="1035169"/>
                  <a:pt x="2014031" y="1072913"/>
                  <a:pt x="1931738" y="107291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Graphic 6">
            <a:extLst>
              <a:ext uri="{FF2B5EF4-FFF2-40B4-BE49-F238E27FC236}">
                <a16:creationId xmlns:a16="http://schemas.microsoft.com/office/drawing/2014/main" id="{1EA9CE54-28D7-4249-AC89-C36183AFEA86}"/>
              </a:ext>
            </a:extLst>
          </p:cNvPr>
          <p:cNvSpPr/>
          <p:nvPr/>
        </p:nvSpPr>
        <p:spPr>
          <a:xfrm>
            <a:off x="6447696" y="869639"/>
            <a:ext cx="1562811" cy="1949273"/>
          </a:xfrm>
          <a:custGeom>
            <a:avLst/>
            <a:gdLst>
              <a:gd name="connsiteX0" fmla="*/ 266320 w 1562811"/>
              <a:gd name="connsiteY0" fmla="*/ 1949273 h 1949273"/>
              <a:gd name="connsiteX1" fmla="*/ 184026 w 1562811"/>
              <a:gd name="connsiteY1" fmla="*/ 1936279 h 1949273"/>
              <a:gd name="connsiteX2" fmla="*/ 13251 w 1562811"/>
              <a:gd name="connsiteY2" fmla="*/ 1600917 h 1949273"/>
              <a:gd name="connsiteX3" fmla="*/ 454420 w 1562811"/>
              <a:gd name="connsiteY3" fmla="*/ 736523 h 1949273"/>
              <a:gd name="connsiteX4" fmla="*/ 1139995 w 1562811"/>
              <a:gd name="connsiteY4" fmla="*/ 50948 h 1949273"/>
              <a:gd name="connsiteX5" fmla="*/ 1511864 w 1562811"/>
              <a:gd name="connsiteY5" fmla="*/ 109729 h 1949273"/>
              <a:gd name="connsiteX6" fmla="*/ 1453082 w 1562811"/>
              <a:gd name="connsiteY6" fmla="*/ 481598 h 1949273"/>
              <a:gd name="connsiteX7" fmla="*/ 884451 w 1562811"/>
              <a:gd name="connsiteY7" fmla="*/ 1050229 h 1949273"/>
              <a:gd name="connsiteX8" fmla="*/ 519389 w 1562811"/>
              <a:gd name="connsiteY8" fmla="*/ 1765504 h 1949273"/>
              <a:gd name="connsiteX9" fmla="*/ 266320 w 1562811"/>
              <a:gd name="connsiteY9" fmla="*/ 1949273 h 19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2811" h="1949273">
                <a:moveTo>
                  <a:pt x="266320" y="1949273"/>
                </a:moveTo>
                <a:cubicBezTo>
                  <a:pt x="239095" y="1949273"/>
                  <a:pt x="211251" y="1944942"/>
                  <a:pt x="184026" y="1936279"/>
                </a:cubicBezTo>
                <a:cubicBezTo>
                  <a:pt x="44188" y="1891110"/>
                  <a:pt x="-32536" y="1740754"/>
                  <a:pt x="13251" y="1600917"/>
                </a:cubicBezTo>
                <a:cubicBezTo>
                  <a:pt x="113489" y="1291542"/>
                  <a:pt x="261989" y="1000729"/>
                  <a:pt x="454420" y="736523"/>
                </a:cubicBezTo>
                <a:cubicBezTo>
                  <a:pt x="646232" y="472935"/>
                  <a:pt x="876407" y="242760"/>
                  <a:pt x="1139995" y="50948"/>
                </a:cubicBezTo>
                <a:cubicBezTo>
                  <a:pt x="1258795" y="-35677"/>
                  <a:pt x="1425239" y="-9071"/>
                  <a:pt x="1511864" y="109729"/>
                </a:cubicBezTo>
                <a:cubicBezTo>
                  <a:pt x="1598489" y="228529"/>
                  <a:pt x="1571882" y="394973"/>
                  <a:pt x="1453082" y="481598"/>
                </a:cubicBezTo>
                <a:cubicBezTo>
                  <a:pt x="1234664" y="640617"/>
                  <a:pt x="1043470" y="831810"/>
                  <a:pt x="884451" y="1050229"/>
                </a:cubicBezTo>
                <a:cubicBezTo>
                  <a:pt x="725432" y="1268648"/>
                  <a:pt x="602301" y="1509342"/>
                  <a:pt x="519389" y="1765504"/>
                </a:cubicBezTo>
                <a:cubicBezTo>
                  <a:pt x="482882" y="1878117"/>
                  <a:pt x="378314" y="1949273"/>
                  <a:pt x="266320" y="194927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Graphic 6">
            <a:extLst>
              <a:ext uri="{FF2B5EF4-FFF2-40B4-BE49-F238E27FC236}">
                <a16:creationId xmlns:a16="http://schemas.microsoft.com/office/drawing/2014/main" id="{329B7472-309C-455C-8D51-791C335BEEA7}"/>
              </a:ext>
            </a:extLst>
          </p:cNvPr>
          <p:cNvSpPr/>
          <p:nvPr/>
        </p:nvSpPr>
        <p:spPr>
          <a:xfrm>
            <a:off x="6447931" y="4038446"/>
            <a:ext cx="935164" cy="1322291"/>
          </a:xfrm>
          <a:custGeom>
            <a:avLst/>
            <a:gdLst>
              <a:gd name="connsiteX0" fmla="*/ 669510 w 935164"/>
              <a:gd name="connsiteY0" fmla="*/ 1322291 h 1322291"/>
              <a:gd name="connsiteX1" fmla="*/ 454185 w 935164"/>
              <a:gd name="connsiteY1" fmla="*/ 1212772 h 1322291"/>
              <a:gd name="connsiteX2" fmla="*/ 13016 w 935164"/>
              <a:gd name="connsiteY2" fmla="*/ 348379 h 1322291"/>
              <a:gd name="connsiteX3" fmla="*/ 183791 w 935164"/>
              <a:gd name="connsiteY3" fmla="*/ 13016 h 1322291"/>
              <a:gd name="connsiteX4" fmla="*/ 519154 w 935164"/>
              <a:gd name="connsiteY4" fmla="*/ 183791 h 1322291"/>
              <a:gd name="connsiteX5" fmla="*/ 884216 w 935164"/>
              <a:gd name="connsiteY5" fmla="*/ 899066 h 1322291"/>
              <a:gd name="connsiteX6" fmla="*/ 825435 w 935164"/>
              <a:gd name="connsiteY6" fmla="*/ 1270935 h 1322291"/>
              <a:gd name="connsiteX7" fmla="*/ 669510 w 935164"/>
              <a:gd name="connsiteY7" fmla="*/ 1322291 h 132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5164" h="1322291">
                <a:moveTo>
                  <a:pt x="669510" y="1322291"/>
                </a:moveTo>
                <a:cubicBezTo>
                  <a:pt x="587216" y="1322291"/>
                  <a:pt x="506160" y="1284547"/>
                  <a:pt x="454185" y="1212772"/>
                </a:cubicBezTo>
                <a:cubicBezTo>
                  <a:pt x="261754" y="948566"/>
                  <a:pt x="113872" y="657754"/>
                  <a:pt x="13016" y="348379"/>
                </a:cubicBezTo>
                <a:cubicBezTo>
                  <a:pt x="-32153" y="208541"/>
                  <a:pt x="43953" y="58804"/>
                  <a:pt x="183791" y="13016"/>
                </a:cubicBezTo>
                <a:cubicBezTo>
                  <a:pt x="323629" y="-32153"/>
                  <a:pt x="473366" y="43953"/>
                  <a:pt x="519154" y="183791"/>
                </a:cubicBezTo>
                <a:cubicBezTo>
                  <a:pt x="602066" y="439953"/>
                  <a:pt x="725197" y="680647"/>
                  <a:pt x="884216" y="899066"/>
                </a:cubicBezTo>
                <a:cubicBezTo>
                  <a:pt x="970841" y="1017866"/>
                  <a:pt x="944235" y="1184310"/>
                  <a:pt x="825435" y="1270935"/>
                </a:cubicBezTo>
                <a:cubicBezTo>
                  <a:pt x="778410" y="1306204"/>
                  <a:pt x="723960" y="1322291"/>
                  <a:pt x="669510" y="1322291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8F8B30FD-E3E1-4208-A464-1CDDD5B8FF75}"/>
              </a:ext>
            </a:extLst>
          </p:cNvPr>
          <p:cNvSpPr/>
          <p:nvPr/>
        </p:nvSpPr>
        <p:spPr>
          <a:xfrm>
            <a:off x="7478229" y="5455463"/>
            <a:ext cx="2197742" cy="1073473"/>
          </a:xfrm>
          <a:custGeom>
            <a:avLst/>
            <a:gdLst>
              <a:gd name="connsiteX0" fmla="*/ 1931680 w 2197742"/>
              <a:gd name="connsiteY0" fmla="*/ 1073474 h 1073473"/>
              <a:gd name="connsiteX1" fmla="*/ 973855 w 2197742"/>
              <a:gd name="connsiteY1" fmla="*/ 922499 h 1073473"/>
              <a:gd name="connsiteX2" fmla="*/ 109461 w 2197742"/>
              <a:gd name="connsiteY2" fmla="*/ 481330 h 1073473"/>
              <a:gd name="connsiteX3" fmla="*/ 50680 w 2197742"/>
              <a:gd name="connsiteY3" fmla="*/ 109461 h 1073473"/>
              <a:gd name="connsiteX4" fmla="*/ 422549 w 2197742"/>
              <a:gd name="connsiteY4" fmla="*/ 50680 h 1073473"/>
              <a:gd name="connsiteX5" fmla="*/ 1137824 w 2197742"/>
              <a:gd name="connsiteY5" fmla="*/ 415742 h 1073473"/>
              <a:gd name="connsiteX6" fmla="*/ 1931680 w 2197742"/>
              <a:gd name="connsiteY6" fmla="*/ 540730 h 1073473"/>
              <a:gd name="connsiteX7" fmla="*/ 2197743 w 2197742"/>
              <a:gd name="connsiteY7" fmla="*/ 806793 h 1073473"/>
              <a:gd name="connsiteX8" fmla="*/ 1931680 w 2197742"/>
              <a:gd name="connsiteY8" fmla="*/ 1073474 h 1073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7742" h="1073473">
                <a:moveTo>
                  <a:pt x="1931680" y="1073474"/>
                </a:moveTo>
                <a:cubicBezTo>
                  <a:pt x="1604361" y="1073474"/>
                  <a:pt x="1281993" y="1022737"/>
                  <a:pt x="973855" y="922499"/>
                </a:cubicBezTo>
                <a:cubicBezTo>
                  <a:pt x="664480" y="822261"/>
                  <a:pt x="373668" y="673761"/>
                  <a:pt x="109461" y="481330"/>
                </a:cubicBezTo>
                <a:cubicBezTo>
                  <a:pt x="-9339" y="394705"/>
                  <a:pt x="-35326" y="228261"/>
                  <a:pt x="50680" y="109461"/>
                </a:cubicBezTo>
                <a:cubicBezTo>
                  <a:pt x="137305" y="-9339"/>
                  <a:pt x="303749" y="-35326"/>
                  <a:pt x="422549" y="50680"/>
                </a:cubicBezTo>
                <a:cubicBezTo>
                  <a:pt x="640968" y="209699"/>
                  <a:pt x="881661" y="332830"/>
                  <a:pt x="1137824" y="415742"/>
                </a:cubicBezTo>
                <a:cubicBezTo>
                  <a:pt x="1393368" y="498655"/>
                  <a:pt x="1660049" y="540730"/>
                  <a:pt x="1931680" y="540730"/>
                </a:cubicBezTo>
                <a:cubicBezTo>
                  <a:pt x="2078324" y="540730"/>
                  <a:pt x="2197743" y="660149"/>
                  <a:pt x="2197743" y="806793"/>
                </a:cubicBezTo>
                <a:cubicBezTo>
                  <a:pt x="2197743" y="953436"/>
                  <a:pt x="2078324" y="1073474"/>
                  <a:pt x="1931680" y="1073474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Graphic 6">
            <a:extLst>
              <a:ext uri="{FF2B5EF4-FFF2-40B4-BE49-F238E27FC236}">
                <a16:creationId xmlns:a16="http://schemas.microsoft.com/office/drawing/2014/main" id="{7CE09225-5C6D-4AF7-8811-059B0A4621EA}"/>
              </a:ext>
            </a:extLst>
          </p:cNvPr>
          <p:cNvSpPr/>
          <p:nvPr/>
        </p:nvSpPr>
        <p:spPr>
          <a:xfrm>
            <a:off x="12292723" y="1960065"/>
            <a:ext cx="1275186" cy="4022515"/>
          </a:xfrm>
          <a:custGeom>
            <a:avLst/>
            <a:gdLst>
              <a:gd name="connsiteX0" fmla="*/ 266005 w 1275186"/>
              <a:gd name="connsiteY0" fmla="*/ 4022516 h 4022515"/>
              <a:gd name="connsiteX1" fmla="*/ 109461 w 1275186"/>
              <a:gd name="connsiteY1" fmla="*/ 3971779 h 4022515"/>
              <a:gd name="connsiteX2" fmla="*/ 50680 w 1275186"/>
              <a:gd name="connsiteY2" fmla="*/ 3599910 h 4022515"/>
              <a:gd name="connsiteX3" fmla="*/ 566099 w 1275186"/>
              <a:gd name="connsiteY3" fmla="*/ 2589491 h 4022515"/>
              <a:gd name="connsiteX4" fmla="*/ 742443 w 1275186"/>
              <a:gd name="connsiteY4" fmla="*/ 1468935 h 4022515"/>
              <a:gd name="connsiteX5" fmla="*/ 566099 w 1275186"/>
              <a:gd name="connsiteY5" fmla="*/ 348378 h 4022515"/>
              <a:gd name="connsiteX6" fmla="*/ 736874 w 1275186"/>
              <a:gd name="connsiteY6" fmla="*/ 13016 h 4022515"/>
              <a:gd name="connsiteX7" fmla="*/ 1072236 w 1275186"/>
              <a:gd name="connsiteY7" fmla="*/ 183791 h 4022515"/>
              <a:gd name="connsiteX8" fmla="*/ 1275187 w 1275186"/>
              <a:gd name="connsiteY8" fmla="*/ 1468935 h 4022515"/>
              <a:gd name="connsiteX9" fmla="*/ 1072856 w 1275186"/>
              <a:gd name="connsiteY9" fmla="*/ 2754079 h 4022515"/>
              <a:gd name="connsiteX10" fmla="*/ 481330 w 1275186"/>
              <a:gd name="connsiteY10" fmla="*/ 3912997 h 4022515"/>
              <a:gd name="connsiteX11" fmla="*/ 266005 w 1275186"/>
              <a:gd name="connsiteY11" fmla="*/ 4022516 h 4022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186" h="4022515">
                <a:moveTo>
                  <a:pt x="266005" y="4022516"/>
                </a:moveTo>
                <a:cubicBezTo>
                  <a:pt x="211555" y="4022516"/>
                  <a:pt x="157105" y="4005810"/>
                  <a:pt x="109461" y="3971779"/>
                </a:cubicBezTo>
                <a:cubicBezTo>
                  <a:pt x="-9338" y="3885154"/>
                  <a:pt x="-35326" y="3718710"/>
                  <a:pt x="50680" y="3599910"/>
                </a:cubicBezTo>
                <a:cubicBezTo>
                  <a:pt x="275287" y="3291154"/>
                  <a:pt x="449155" y="2951460"/>
                  <a:pt x="566099" y="2589491"/>
                </a:cubicBezTo>
                <a:cubicBezTo>
                  <a:pt x="683043" y="2228760"/>
                  <a:pt x="742443" y="1851941"/>
                  <a:pt x="742443" y="1468935"/>
                </a:cubicBezTo>
                <a:cubicBezTo>
                  <a:pt x="742443" y="1085928"/>
                  <a:pt x="683043" y="708491"/>
                  <a:pt x="566099" y="348378"/>
                </a:cubicBezTo>
                <a:cubicBezTo>
                  <a:pt x="520930" y="208541"/>
                  <a:pt x="597037" y="58803"/>
                  <a:pt x="736874" y="13016"/>
                </a:cubicBezTo>
                <a:cubicBezTo>
                  <a:pt x="876711" y="-32153"/>
                  <a:pt x="1026449" y="43954"/>
                  <a:pt x="1072236" y="183791"/>
                </a:cubicBezTo>
                <a:cubicBezTo>
                  <a:pt x="1207124" y="597735"/>
                  <a:pt x="1275187" y="1030241"/>
                  <a:pt x="1275187" y="1468935"/>
                </a:cubicBezTo>
                <a:cubicBezTo>
                  <a:pt x="1275187" y="1907629"/>
                  <a:pt x="1207124" y="2340135"/>
                  <a:pt x="1072856" y="2754079"/>
                </a:cubicBezTo>
                <a:cubicBezTo>
                  <a:pt x="937968" y="3169260"/>
                  <a:pt x="739349" y="3559072"/>
                  <a:pt x="481330" y="3912997"/>
                </a:cubicBezTo>
                <a:cubicBezTo>
                  <a:pt x="429356" y="3984772"/>
                  <a:pt x="348299" y="4022516"/>
                  <a:pt x="266005" y="4022516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Graphic 6">
            <a:extLst>
              <a:ext uri="{FF2B5EF4-FFF2-40B4-BE49-F238E27FC236}">
                <a16:creationId xmlns:a16="http://schemas.microsoft.com/office/drawing/2014/main" id="{E038AA9E-8D22-4829-9DEC-ADC1592F51B9}"/>
              </a:ext>
            </a:extLst>
          </p:cNvPr>
          <p:cNvSpPr/>
          <p:nvPr/>
        </p:nvSpPr>
        <p:spPr>
          <a:xfrm>
            <a:off x="6856117" y="-729000"/>
            <a:ext cx="5107315" cy="1275243"/>
          </a:xfrm>
          <a:custGeom>
            <a:avLst/>
            <a:gdLst>
              <a:gd name="connsiteX0" fmla="*/ 4841311 w 5107315"/>
              <a:gd name="connsiteY0" fmla="*/ 1275244 h 1275243"/>
              <a:gd name="connsiteX1" fmla="*/ 4684767 w 5107315"/>
              <a:gd name="connsiteY1" fmla="*/ 1224506 h 1275243"/>
              <a:gd name="connsiteX2" fmla="*/ 3674348 w 5107315"/>
              <a:gd name="connsiteY2" fmla="*/ 709088 h 1275243"/>
              <a:gd name="connsiteX3" fmla="*/ 2553792 w 5107315"/>
              <a:gd name="connsiteY3" fmla="*/ 532125 h 1275243"/>
              <a:gd name="connsiteX4" fmla="*/ 1433236 w 5107315"/>
              <a:gd name="connsiteY4" fmla="*/ 708469 h 1275243"/>
              <a:gd name="connsiteX5" fmla="*/ 422817 w 5107315"/>
              <a:gd name="connsiteY5" fmla="*/ 1223888 h 1275243"/>
              <a:gd name="connsiteX6" fmla="*/ 50948 w 5107315"/>
              <a:gd name="connsiteY6" fmla="*/ 1165106 h 1275243"/>
              <a:gd name="connsiteX7" fmla="*/ 109729 w 5107315"/>
              <a:gd name="connsiteY7" fmla="*/ 793238 h 1275243"/>
              <a:gd name="connsiteX8" fmla="*/ 1268648 w 5107315"/>
              <a:gd name="connsiteY8" fmla="*/ 201712 h 1275243"/>
              <a:gd name="connsiteX9" fmla="*/ 2553792 w 5107315"/>
              <a:gd name="connsiteY9" fmla="*/ 0 h 1275243"/>
              <a:gd name="connsiteX10" fmla="*/ 3838936 w 5107315"/>
              <a:gd name="connsiteY10" fmla="*/ 202331 h 1275243"/>
              <a:gd name="connsiteX11" fmla="*/ 4997855 w 5107315"/>
              <a:gd name="connsiteY11" fmla="*/ 793856 h 1275243"/>
              <a:gd name="connsiteX12" fmla="*/ 5056636 w 5107315"/>
              <a:gd name="connsiteY12" fmla="*/ 1165725 h 1275243"/>
              <a:gd name="connsiteX13" fmla="*/ 4841311 w 5107315"/>
              <a:gd name="connsiteY13" fmla="*/ 1275244 h 1275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07315" h="1275243">
                <a:moveTo>
                  <a:pt x="4841311" y="1275244"/>
                </a:moveTo>
                <a:cubicBezTo>
                  <a:pt x="4786861" y="1275244"/>
                  <a:pt x="4732411" y="1258538"/>
                  <a:pt x="4684767" y="1224506"/>
                </a:cubicBezTo>
                <a:cubicBezTo>
                  <a:pt x="4376011" y="999900"/>
                  <a:pt x="4036317" y="826031"/>
                  <a:pt x="3674348" y="709088"/>
                </a:cubicBezTo>
                <a:cubicBezTo>
                  <a:pt x="3314236" y="591525"/>
                  <a:pt x="2936798" y="532125"/>
                  <a:pt x="2553792" y="532125"/>
                </a:cubicBezTo>
                <a:cubicBezTo>
                  <a:pt x="2170786" y="532125"/>
                  <a:pt x="1793348" y="591525"/>
                  <a:pt x="1433236" y="708469"/>
                </a:cubicBezTo>
                <a:cubicBezTo>
                  <a:pt x="1071886" y="826031"/>
                  <a:pt x="731573" y="999281"/>
                  <a:pt x="422817" y="1223888"/>
                </a:cubicBezTo>
                <a:cubicBezTo>
                  <a:pt x="304017" y="1310513"/>
                  <a:pt x="137573" y="1283906"/>
                  <a:pt x="50948" y="1165106"/>
                </a:cubicBezTo>
                <a:cubicBezTo>
                  <a:pt x="-35677" y="1046306"/>
                  <a:pt x="-9071" y="879863"/>
                  <a:pt x="109729" y="793238"/>
                </a:cubicBezTo>
                <a:cubicBezTo>
                  <a:pt x="463654" y="535219"/>
                  <a:pt x="854085" y="336600"/>
                  <a:pt x="1268648" y="201712"/>
                </a:cubicBezTo>
                <a:cubicBezTo>
                  <a:pt x="1682592" y="68063"/>
                  <a:pt x="2115098" y="0"/>
                  <a:pt x="2553792" y="0"/>
                </a:cubicBezTo>
                <a:cubicBezTo>
                  <a:pt x="2992486" y="0"/>
                  <a:pt x="3424992" y="68063"/>
                  <a:pt x="3838936" y="202331"/>
                </a:cubicBezTo>
                <a:cubicBezTo>
                  <a:pt x="4254117" y="337219"/>
                  <a:pt x="4643930" y="535838"/>
                  <a:pt x="4997855" y="793856"/>
                </a:cubicBezTo>
                <a:cubicBezTo>
                  <a:pt x="5116654" y="880481"/>
                  <a:pt x="5142642" y="1046925"/>
                  <a:pt x="5056636" y="1165725"/>
                </a:cubicBezTo>
                <a:cubicBezTo>
                  <a:pt x="5004661" y="1237500"/>
                  <a:pt x="4923605" y="1275244"/>
                  <a:pt x="4841311" y="1275244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Graphic 6">
            <a:extLst>
              <a:ext uri="{FF2B5EF4-FFF2-40B4-BE49-F238E27FC236}">
                <a16:creationId xmlns:a16="http://schemas.microsoft.com/office/drawing/2014/main" id="{C8012D67-BBD7-43B2-B37A-18A31D521B76}"/>
              </a:ext>
            </a:extLst>
          </p:cNvPr>
          <p:cNvSpPr/>
          <p:nvPr/>
        </p:nvSpPr>
        <p:spPr>
          <a:xfrm>
            <a:off x="5251909" y="1959830"/>
            <a:ext cx="721719" cy="2938082"/>
          </a:xfrm>
          <a:custGeom>
            <a:avLst/>
            <a:gdLst>
              <a:gd name="connsiteX0" fmla="*/ 455400 w 721719"/>
              <a:gd name="connsiteY0" fmla="*/ 2938083 h 2938082"/>
              <a:gd name="connsiteX1" fmla="*/ 202331 w 721719"/>
              <a:gd name="connsiteY1" fmla="*/ 2754314 h 2938082"/>
              <a:gd name="connsiteX2" fmla="*/ 0 w 721719"/>
              <a:gd name="connsiteY2" fmla="*/ 1469170 h 2938082"/>
              <a:gd name="connsiteX3" fmla="*/ 202331 w 721719"/>
              <a:gd name="connsiteY3" fmla="*/ 184026 h 2938082"/>
              <a:gd name="connsiteX4" fmla="*/ 537694 w 721719"/>
              <a:gd name="connsiteY4" fmla="*/ 13251 h 2938082"/>
              <a:gd name="connsiteX5" fmla="*/ 708469 w 721719"/>
              <a:gd name="connsiteY5" fmla="*/ 348613 h 2938082"/>
              <a:gd name="connsiteX6" fmla="*/ 532125 w 721719"/>
              <a:gd name="connsiteY6" fmla="*/ 1469170 h 2938082"/>
              <a:gd name="connsiteX7" fmla="*/ 708469 w 721719"/>
              <a:gd name="connsiteY7" fmla="*/ 2589726 h 2938082"/>
              <a:gd name="connsiteX8" fmla="*/ 537694 w 721719"/>
              <a:gd name="connsiteY8" fmla="*/ 2925089 h 2938082"/>
              <a:gd name="connsiteX9" fmla="*/ 455400 w 721719"/>
              <a:gd name="connsiteY9" fmla="*/ 2938083 h 293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19" h="2938082">
                <a:moveTo>
                  <a:pt x="455400" y="2938083"/>
                </a:moveTo>
                <a:cubicBezTo>
                  <a:pt x="343406" y="2938083"/>
                  <a:pt x="238838" y="2866307"/>
                  <a:pt x="202331" y="2754314"/>
                </a:cubicBezTo>
                <a:cubicBezTo>
                  <a:pt x="68063" y="2340370"/>
                  <a:pt x="0" y="1907864"/>
                  <a:pt x="0" y="1469170"/>
                </a:cubicBezTo>
                <a:cubicBezTo>
                  <a:pt x="0" y="1030476"/>
                  <a:pt x="68063" y="597970"/>
                  <a:pt x="202331" y="184026"/>
                </a:cubicBezTo>
                <a:cubicBezTo>
                  <a:pt x="247500" y="44189"/>
                  <a:pt x="397856" y="-32537"/>
                  <a:pt x="537694" y="13251"/>
                </a:cubicBezTo>
                <a:cubicBezTo>
                  <a:pt x="677531" y="58420"/>
                  <a:pt x="754256" y="208776"/>
                  <a:pt x="708469" y="348613"/>
                </a:cubicBezTo>
                <a:cubicBezTo>
                  <a:pt x="591525" y="708726"/>
                  <a:pt x="532125" y="1086163"/>
                  <a:pt x="532125" y="1469170"/>
                </a:cubicBezTo>
                <a:cubicBezTo>
                  <a:pt x="532125" y="1852176"/>
                  <a:pt x="591525" y="2229614"/>
                  <a:pt x="708469" y="2589726"/>
                </a:cubicBezTo>
                <a:cubicBezTo>
                  <a:pt x="753638" y="2729564"/>
                  <a:pt x="677531" y="2879301"/>
                  <a:pt x="537694" y="2925089"/>
                </a:cubicBezTo>
                <a:cubicBezTo>
                  <a:pt x="510469" y="2934370"/>
                  <a:pt x="482625" y="2938083"/>
                  <a:pt x="455400" y="2938083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6">
            <a:extLst>
              <a:ext uri="{FF2B5EF4-FFF2-40B4-BE49-F238E27FC236}">
                <a16:creationId xmlns:a16="http://schemas.microsoft.com/office/drawing/2014/main" id="{09A0ABD0-6607-4169-BE7A-9AC2FB86863C}"/>
              </a:ext>
            </a:extLst>
          </p:cNvPr>
          <p:cNvSpPr/>
          <p:nvPr/>
        </p:nvSpPr>
        <p:spPr>
          <a:xfrm>
            <a:off x="5995436" y="5450864"/>
            <a:ext cx="4884026" cy="2136135"/>
          </a:xfrm>
          <a:custGeom>
            <a:avLst/>
            <a:gdLst>
              <a:gd name="connsiteX0" fmla="*/ 3414473 w 4884026"/>
              <a:gd name="connsiteY0" fmla="*/ 2136136 h 2136135"/>
              <a:gd name="connsiteX1" fmla="*/ 2129329 w 4884026"/>
              <a:gd name="connsiteY1" fmla="*/ 1933805 h 2136135"/>
              <a:gd name="connsiteX2" fmla="*/ 970411 w 4884026"/>
              <a:gd name="connsiteY2" fmla="*/ 1342279 h 2136135"/>
              <a:gd name="connsiteX3" fmla="*/ 50948 w 4884026"/>
              <a:gd name="connsiteY3" fmla="*/ 422817 h 2136135"/>
              <a:gd name="connsiteX4" fmla="*/ 109729 w 4884026"/>
              <a:gd name="connsiteY4" fmla="*/ 50948 h 2136135"/>
              <a:gd name="connsiteX5" fmla="*/ 481598 w 4884026"/>
              <a:gd name="connsiteY5" fmla="*/ 109729 h 2136135"/>
              <a:gd name="connsiteX6" fmla="*/ 1284117 w 4884026"/>
              <a:gd name="connsiteY6" fmla="*/ 912248 h 2136135"/>
              <a:gd name="connsiteX7" fmla="*/ 2294536 w 4884026"/>
              <a:gd name="connsiteY7" fmla="*/ 1427667 h 2136135"/>
              <a:gd name="connsiteX8" fmla="*/ 3415092 w 4884026"/>
              <a:gd name="connsiteY8" fmla="*/ 1604011 h 2136135"/>
              <a:gd name="connsiteX9" fmla="*/ 4535649 w 4884026"/>
              <a:gd name="connsiteY9" fmla="*/ 1427667 h 2136135"/>
              <a:gd name="connsiteX10" fmla="*/ 4871011 w 4884026"/>
              <a:gd name="connsiteY10" fmla="*/ 1598442 h 2136135"/>
              <a:gd name="connsiteX11" fmla="*/ 4700236 w 4884026"/>
              <a:gd name="connsiteY11" fmla="*/ 1933805 h 2136135"/>
              <a:gd name="connsiteX12" fmla="*/ 3414473 w 4884026"/>
              <a:gd name="connsiteY12" fmla="*/ 2136136 h 2136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4026" h="2136135">
                <a:moveTo>
                  <a:pt x="3414473" y="2136136"/>
                </a:moveTo>
                <a:cubicBezTo>
                  <a:pt x="2975779" y="2136136"/>
                  <a:pt x="2543273" y="2068073"/>
                  <a:pt x="2129329" y="1933805"/>
                </a:cubicBezTo>
                <a:cubicBezTo>
                  <a:pt x="1714148" y="1798917"/>
                  <a:pt x="1324336" y="1600298"/>
                  <a:pt x="970411" y="1342279"/>
                </a:cubicBezTo>
                <a:cubicBezTo>
                  <a:pt x="617104" y="1085498"/>
                  <a:pt x="307729" y="776123"/>
                  <a:pt x="50948" y="422817"/>
                </a:cubicBezTo>
                <a:cubicBezTo>
                  <a:pt x="-35677" y="304017"/>
                  <a:pt x="-9071" y="137573"/>
                  <a:pt x="109729" y="50948"/>
                </a:cubicBezTo>
                <a:cubicBezTo>
                  <a:pt x="228529" y="-35677"/>
                  <a:pt x="394973" y="-9071"/>
                  <a:pt x="481598" y="109729"/>
                </a:cubicBezTo>
                <a:cubicBezTo>
                  <a:pt x="706204" y="417867"/>
                  <a:pt x="975979" y="687642"/>
                  <a:pt x="1284117" y="912248"/>
                </a:cubicBezTo>
                <a:cubicBezTo>
                  <a:pt x="1592873" y="1136854"/>
                  <a:pt x="1932567" y="1310723"/>
                  <a:pt x="2294536" y="1427667"/>
                </a:cubicBezTo>
                <a:cubicBezTo>
                  <a:pt x="2655267" y="1544611"/>
                  <a:pt x="3032086" y="1604011"/>
                  <a:pt x="3415092" y="1604011"/>
                </a:cubicBezTo>
                <a:cubicBezTo>
                  <a:pt x="3798098" y="1604011"/>
                  <a:pt x="4175536" y="1544611"/>
                  <a:pt x="4535649" y="1427667"/>
                </a:cubicBezTo>
                <a:cubicBezTo>
                  <a:pt x="4675486" y="1382498"/>
                  <a:pt x="4825223" y="1458604"/>
                  <a:pt x="4871011" y="1598442"/>
                </a:cubicBezTo>
                <a:cubicBezTo>
                  <a:pt x="4916180" y="1738279"/>
                  <a:pt x="4840074" y="1888017"/>
                  <a:pt x="4700236" y="1933805"/>
                </a:cubicBezTo>
                <a:cubicBezTo>
                  <a:pt x="4285673" y="2068073"/>
                  <a:pt x="3853167" y="2136136"/>
                  <a:pt x="3414473" y="2136136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6">
            <a:extLst>
              <a:ext uri="{FF2B5EF4-FFF2-40B4-BE49-F238E27FC236}">
                <a16:creationId xmlns:a16="http://schemas.microsoft.com/office/drawing/2014/main" id="{05247D60-B3EB-4B79-8456-2079F5FF9A68}"/>
              </a:ext>
            </a:extLst>
          </p:cNvPr>
          <p:cNvSpPr/>
          <p:nvPr/>
        </p:nvSpPr>
        <p:spPr>
          <a:xfrm>
            <a:off x="6309972" y="3162937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3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3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6">
            <a:extLst>
              <a:ext uri="{FF2B5EF4-FFF2-40B4-BE49-F238E27FC236}">
                <a16:creationId xmlns:a16="http://schemas.microsoft.com/office/drawing/2014/main" id="{FDE469FA-EA44-421C-97E0-BD156400EC41}"/>
              </a:ext>
            </a:extLst>
          </p:cNvPr>
          <p:cNvSpPr/>
          <p:nvPr/>
        </p:nvSpPr>
        <p:spPr>
          <a:xfrm>
            <a:off x="11436316" y="1497262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6">
            <a:extLst>
              <a:ext uri="{FF2B5EF4-FFF2-40B4-BE49-F238E27FC236}">
                <a16:creationId xmlns:a16="http://schemas.microsoft.com/office/drawing/2014/main" id="{6833BC13-AA0F-4883-B0C6-7CD0AE30BC55}"/>
              </a:ext>
            </a:extLst>
          </p:cNvPr>
          <p:cNvSpPr/>
          <p:nvPr/>
        </p:nvSpPr>
        <p:spPr>
          <a:xfrm>
            <a:off x="8269553" y="457762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4C54CC5E-06DA-4EE1-B442-B57738A4F188}"/>
              </a:ext>
            </a:extLst>
          </p:cNvPr>
          <p:cNvSpPr/>
          <p:nvPr/>
        </p:nvSpPr>
        <p:spPr>
          <a:xfrm>
            <a:off x="5995028" y="875418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615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- Emerald">
    <p:bg>
      <p:bgPr>
        <a:solidFill>
          <a:srgbClr val="254B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rgbClr val="FAEF79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8FBDA56-AC96-426C-B7C8-862FC7BE91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14A347-3935-4328-90B5-68E3E09AA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2138" y="1690689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1BA2701-54E9-436A-AB49-A9D376A1D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2938" y="1690689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BB420B2-6C2F-4642-B7BC-090941A1A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2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9956B64-AD82-451A-935C-5C066A30F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3928" y="1690689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0EA696D-87DF-4621-895A-D84C9361F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321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AEE456-2BD9-4A29-BF2D-8361681964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84728" y="1690689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9A4B640-A120-4129-9307-360D0D4029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2401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CE1F085-DB84-4C29-AE74-5A337E67C5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62138" y="3810434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2EF028-965E-46ED-85F5-ED6517127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2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EBE54AF-C0A9-4BC4-AD74-FAF421C95A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2938" y="3810434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67BA099-9E65-4A0E-8F38-9F76425DBF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222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8BD7007-D5DF-4317-8E3C-494EE934D4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93928" y="3810434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541ECC9-5DB5-48F3-B8F3-FA430C3AF5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3321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6BBDC-CFC0-4CAE-AA5C-004A9BBE5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84728" y="3810434"/>
            <a:ext cx="648000" cy="648000"/>
          </a:xfrm>
          <a:prstGeom prst="ellipse">
            <a:avLst/>
          </a:prstGeom>
          <a:ln w="15875">
            <a:solidFill>
              <a:srgbClr val="FAEF79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63A7AFB-DC94-466C-B279-3E88D594F6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2401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rgbClr val="D1D5E6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/>
              <a:t>Agenda title</a:t>
            </a:r>
            <a:endParaRPr lang="en-GB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79188708-5989-4D36-B327-E38AC6E34C9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rgbClr val="D1D5E6"/>
                </a:solidFill>
              </a:defRPr>
            </a:lvl1pPr>
          </a:lstStyle>
          <a:p>
            <a:pPr lvl="0"/>
            <a:r>
              <a:rPr lang="en-US"/>
              <a:t>Source:</a:t>
            </a:r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4525A12-FD68-4C5C-8777-D79EEE03463F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rgbClr val="D1D5E6"/>
                </a:solidFill>
                <a:latin typeface="+mj-lt"/>
              </a:rPr>
              <a:pPr algn="ctr"/>
              <a:t>‹N°›</a:t>
            </a:fld>
            <a:endParaRPr lang="en-GB" sz="1000" b="1">
              <a:solidFill>
                <a:srgbClr val="D1D5E6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20225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sv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2.vml"/><Relationship Id="rId1" Type="http://schemas.openxmlformats.org/officeDocument/2006/relationships/theme" Target="../theme/theme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vmlDrawing" Target="../drawings/vmlDrawing3.vml"/><Relationship Id="rId7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0921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987" y="1825626"/>
            <a:ext cx="10208027" cy="403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2E8D1-934D-41E3-B4E7-9244365BB4B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57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65" r:id="rId2"/>
    <p:sldLayoutId id="2147485053" r:id="rId3"/>
  </p:sldLayoutIdLst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Hurme Geometric Sans 4 Bold" panose="020B0A00020000000000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0921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987" y="1825626"/>
            <a:ext cx="10208027" cy="403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2157382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0921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987" y="1825626"/>
            <a:ext cx="10208027" cy="403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2E8D1-934D-41E3-B4E7-9244365BB4B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57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8" r:id="rId1"/>
  </p:sldLayoutIdLst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Hurme Geometric Sans 4 Bold" panose="020B0A00020000000000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Diapositive think-cell" r:id="rId5" imgW="473" imgH="476" progId="TCLayout.ActiveDocument.1">
                  <p:embed/>
                </p:oleObj>
              </mc:Choice>
              <mc:Fallback>
                <p:oleObj name="Diapositive think-cell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0921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987" y="1825626"/>
            <a:ext cx="10208027" cy="403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157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</p:sldLayoutIdLst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Century Gothic" panose="020B0502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97CE0296-484D-BD4D-C953-D065A1BD82C0}"/>
              </a:ext>
            </a:extLst>
          </p:cNvPr>
          <p:cNvSpPr/>
          <p:nvPr/>
        </p:nvSpPr>
        <p:spPr>
          <a:xfrm>
            <a:off x="-1177432" y="-1113419"/>
            <a:ext cx="1800000" cy="1800000"/>
          </a:xfrm>
          <a:prstGeom prst="ellipse">
            <a:avLst/>
          </a:prstGeom>
          <a:noFill/>
          <a:ln w="127000">
            <a:solidFill>
              <a:srgbClr val="0043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51BDCCB-919A-6DE1-E8F0-A32122F098B5}"/>
              </a:ext>
            </a:extLst>
          </p:cNvPr>
          <p:cNvSpPr/>
          <p:nvPr/>
        </p:nvSpPr>
        <p:spPr>
          <a:xfrm>
            <a:off x="-1103397" y="-906861"/>
            <a:ext cx="1470865" cy="1386884"/>
          </a:xfrm>
          <a:prstGeom prst="ellipse">
            <a:avLst/>
          </a:prstGeom>
          <a:solidFill>
            <a:srgbClr val="00436E"/>
          </a:solidFill>
          <a:ln w="127000">
            <a:solidFill>
              <a:srgbClr val="0043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3895F3-93E0-47DC-9594-F62F1A00C036}"/>
              </a:ext>
            </a:extLst>
          </p:cNvPr>
          <p:cNvSpPr/>
          <p:nvPr/>
        </p:nvSpPr>
        <p:spPr>
          <a:xfrm>
            <a:off x="1546860" y="129540"/>
            <a:ext cx="9098280" cy="12115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 err="1">
                <a:solidFill>
                  <a:schemeClr val="tx1"/>
                </a:solidFill>
              </a:rPr>
              <a:t>res</a:t>
            </a:r>
            <a:r>
              <a:rPr lang="fr-FR" sz="1600" dirty="0">
                <a:solidFill>
                  <a:schemeClr val="tx1"/>
                </a:solidFill>
              </a:rPr>
              <a:t> = spark.read.csv(‘/</a:t>
            </a:r>
            <a:r>
              <a:rPr lang="fr-FR" sz="1600" dirty="0" err="1">
                <a:solidFill>
                  <a:schemeClr val="tx1"/>
                </a:solidFill>
              </a:rPr>
              <a:t>datasets</a:t>
            </a:r>
            <a:r>
              <a:rPr lang="fr-FR" sz="1600" dirty="0">
                <a:solidFill>
                  <a:schemeClr val="tx1"/>
                </a:solidFill>
              </a:rPr>
              <a:t>/</a:t>
            </a:r>
            <a:r>
              <a:rPr lang="fr-FR" sz="1600" dirty="0" err="1">
                <a:solidFill>
                  <a:schemeClr val="tx1"/>
                </a:solidFill>
              </a:rPr>
              <a:t>mydataset</a:t>
            </a:r>
            <a:r>
              <a:rPr lang="fr-FR" sz="1600" dirty="0">
                <a:solidFill>
                  <a:schemeClr val="tx1"/>
                </a:solidFill>
              </a:rPr>
              <a:t>/’)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918DF52-79F0-4EAB-ACA2-F9626844130F}"/>
              </a:ext>
            </a:extLst>
          </p:cNvPr>
          <p:cNvSpPr txBox="1"/>
          <p:nvPr/>
        </p:nvSpPr>
        <p:spPr>
          <a:xfrm>
            <a:off x="1041593" y="118274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[0]: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48A0FD5-320A-4523-8139-2725FCC7C977}"/>
              </a:ext>
            </a:extLst>
          </p:cNvPr>
          <p:cNvCxnSpPr/>
          <p:nvPr/>
        </p:nvCxnSpPr>
        <p:spPr>
          <a:xfrm>
            <a:off x="76200" y="1394460"/>
            <a:ext cx="119634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AA84848E-604F-487D-BE84-02BBF64930B1}"/>
              </a:ext>
            </a:extLst>
          </p:cNvPr>
          <p:cNvSpPr txBox="1"/>
          <p:nvPr/>
        </p:nvSpPr>
        <p:spPr>
          <a:xfrm>
            <a:off x="51068" y="1117461"/>
            <a:ext cx="81464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otebook</a:t>
            </a: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93AA84C5-3711-4B8E-A9AB-0BB78A507689}"/>
              </a:ext>
            </a:extLst>
          </p:cNvPr>
          <p:cNvCxnSpPr/>
          <p:nvPr/>
        </p:nvCxnSpPr>
        <p:spPr>
          <a:xfrm>
            <a:off x="76200" y="4564380"/>
            <a:ext cx="119634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FD4BB043-FAB0-4BF2-B53C-2A3F4BC9323B}"/>
              </a:ext>
            </a:extLst>
          </p:cNvPr>
          <p:cNvSpPr txBox="1"/>
          <p:nvPr/>
        </p:nvSpPr>
        <p:spPr>
          <a:xfrm>
            <a:off x="51067" y="4587239"/>
            <a:ext cx="47481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hdfs</a:t>
            </a:r>
            <a:endParaRPr lang="fr-FR" sz="12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5FA5298-2A45-4338-A06C-AE2D2A43B807}"/>
              </a:ext>
            </a:extLst>
          </p:cNvPr>
          <p:cNvSpPr/>
          <p:nvPr/>
        </p:nvSpPr>
        <p:spPr>
          <a:xfrm>
            <a:off x="1114847" y="4725737"/>
            <a:ext cx="9962305" cy="958779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rgbClr val="FF0000"/>
                </a:solidFill>
              </a:rPr>
              <a:t>[</a:t>
            </a:r>
            <a:r>
              <a:rPr lang="fr-FR" sz="1600" dirty="0" err="1">
                <a:solidFill>
                  <a:srgbClr val="FF0000"/>
                </a:solidFill>
              </a:rPr>
              <a:t>j.doe@hadoop_gateway</a:t>
            </a:r>
            <a:r>
              <a:rPr lang="fr-FR" sz="1600" dirty="0">
                <a:solidFill>
                  <a:srgbClr val="FF0000"/>
                </a:solidFill>
              </a:rPr>
              <a:t>]$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hdf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dfs</a:t>
            </a:r>
            <a:r>
              <a:rPr lang="fr-FR" sz="1600" dirty="0">
                <a:solidFill>
                  <a:schemeClr val="bg1"/>
                </a:solidFill>
              </a:rPr>
              <a:t> –ls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</a:p>
          <a:p>
            <a:r>
              <a:rPr lang="fr-FR" sz="1600" dirty="0" err="1">
                <a:solidFill>
                  <a:schemeClr val="bg1"/>
                </a:solidFill>
              </a:rPr>
              <a:t>Found</a:t>
            </a:r>
            <a:r>
              <a:rPr lang="fr-FR" sz="1600" dirty="0">
                <a:solidFill>
                  <a:schemeClr val="bg1"/>
                </a:solidFill>
              </a:rPr>
              <a:t> 1 item</a:t>
            </a:r>
          </a:p>
          <a:p>
            <a:r>
              <a:rPr lang="fr-FR" sz="1600" dirty="0">
                <a:solidFill>
                  <a:schemeClr val="bg1"/>
                </a:solidFill>
              </a:rPr>
              <a:t>-</a:t>
            </a:r>
            <a:r>
              <a:rPr lang="fr-FR" sz="1600" dirty="0" err="1">
                <a:solidFill>
                  <a:schemeClr val="bg1"/>
                </a:solidFill>
              </a:rPr>
              <a:t>rw</a:t>
            </a:r>
            <a:r>
              <a:rPr lang="fr-FR" sz="1600" dirty="0">
                <a:solidFill>
                  <a:schemeClr val="bg1"/>
                </a:solidFill>
              </a:rPr>
              <a:t>-r--r--   3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       16400000000000 2022-12-14 14:42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mydataset.csv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0E025A-AD52-40FB-814C-E09207B5400F}"/>
              </a:ext>
            </a:extLst>
          </p:cNvPr>
          <p:cNvSpPr/>
          <p:nvPr/>
        </p:nvSpPr>
        <p:spPr>
          <a:xfrm>
            <a:off x="1114847" y="5751804"/>
            <a:ext cx="9962305" cy="958779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rgbClr val="FF0000"/>
                </a:solidFill>
              </a:rPr>
              <a:t>[</a:t>
            </a:r>
            <a:r>
              <a:rPr lang="fr-FR" sz="1600" dirty="0" err="1">
                <a:solidFill>
                  <a:srgbClr val="FF0000"/>
                </a:solidFill>
              </a:rPr>
              <a:t>j.doe@hadoop_gateway</a:t>
            </a:r>
            <a:r>
              <a:rPr lang="fr-FR" sz="1600" dirty="0">
                <a:solidFill>
                  <a:srgbClr val="FF0000"/>
                </a:solidFill>
              </a:rPr>
              <a:t>]$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hdf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dfs</a:t>
            </a:r>
            <a:r>
              <a:rPr lang="fr-FR" sz="1600" dirty="0">
                <a:solidFill>
                  <a:schemeClr val="bg1"/>
                </a:solidFill>
              </a:rPr>
              <a:t> –du -h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</a:p>
          <a:p>
            <a:r>
              <a:rPr lang="fr-FR" sz="1600" dirty="0">
                <a:solidFill>
                  <a:schemeClr val="bg1"/>
                </a:solidFill>
              </a:rPr>
              <a:t>16.4 T  49.2 T 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mydataset.csv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E4C0F6F-77FD-475B-8882-99A7F6B55E14}"/>
              </a:ext>
            </a:extLst>
          </p:cNvPr>
          <p:cNvSpPr/>
          <p:nvPr/>
        </p:nvSpPr>
        <p:spPr>
          <a:xfrm>
            <a:off x="1546858" y="123222"/>
            <a:ext cx="9098280" cy="12115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 err="1">
                <a:solidFill>
                  <a:schemeClr val="tx1"/>
                </a:solidFill>
              </a:rPr>
              <a:t>res</a:t>
            </a:r>
            <a:r>
              <a:rPr lang="fr-FR" sz="1600" dirty="0">
                <a:solidFill>
                  <a:schemeClr val="tx1"/>
                </a:solidFill>
              </a:rPr>
              <a:t> = spark.read.csv(‘/</a:t>
            </a:r>
            <a:r>
              <a:rPr lang="fr-FR" sz="1600" dirty="0" err="1">
                <a:solidFill>
                  <a:schemeClr val="tx1"/>
                </a:solidFill>
              </a:rPr>
              <a:t>datasets</a:t>
            </a:r>
            <a:r>
              <a:rPr lang="fr-FR" sz="1600" dirty="0">
                <a:solidFill>
                  <a:schemeClr val="tx1"/>
                </a:solidFill>
              </a:rPr>
              <a:t>/</a:t>
            </a:r>
            <a:r>
              <a:rPr lang="fr-FR" sz="1600" dirty="0" err="1">
                <a:solidFill>
                  <a:schemeClr val="tx1"/>
                </a:solidFill>
              </a:rPr>
              <a:t>mydataset</a:t>
            </a:r>
            <a:r>
              <a:rPr lang="fr-FR" sz="1600" dirty="0">
                <a:solidFill>
                  <a:schemeClr val="tx1"/>
                </a:solidFill>
              </a:rPr>
              <a:t>/’)</a:t>
            </a:r>
          </a:p>
          <a:p>
            <a:r>
              <a:rPr lang="fr-FR" sz="1600" dirty="0">
                <a:solidFill>
                  <a:schemeClr val="tx1"/>
                </a:solidFill>
              </a:rPr>
              <a:t>	.</a:t>
            </a:r>
            <a:r>
              <a:rPr lang="fr-FR" sz="1600" dirty="0" err="1">
                <a:solidFill>
                  <a:schemeClr val="tx1"/>
                </a:solidFill>
              </a:rPr>
              <a:t>collect</a:t>
            </a:r>
            <a:r>
              <a:rPr lang="fr-FR" sz="1600" dirty="0">
                <a:solidFill>
                  <a:schemeClr val="tx1"/>
                </a:solidFill>
              </a:rPr>
              <a:t>()</a:t>
            </a:r>
          </a:p>
        </p:txBody>
      </p:sp>
      <p:grpSp>
        <p:nvGrpSpPr>
          <p:cNvPr id="70" name="Groupe 69">
            <a:extLst>
              <a:ext uri="{FF2B5EF4-FFF2-40B4-BE49-F238E27FC236}">
                <a16:creationId xmlns:a16="http://schemas.microsoft.com/office/drawing/2014/main" id="{7F20BA99-27B1-49C4-8B71-77EA25E41102}"/>
              </a:ext>
            </a:extLst>
          </p:cNvPr>
          <p:cNvGrpSpPr/>
          <p:nvPr/>
        </p:nvGrpSpPr>
        <p:grpSpPr>
          <a:xfrm>
            <a:off x="1114847" y="3119211"/>
            <a:ext cx="9962305" cy="1350384"/>
            <a:chOff x="1114847" y="3119211"/>
            <a:chExt cx="9962305" cy="1350384"/>
          </a:xfrm>
        </p:grpSpPr>
        <p:sp>
          <p:nvSpPr>
            <p:cNvPr id="65" name="Rectangle : coins arrondis 64">
              <a:extLst>
                <a:ext uri="{FF2B5EF4-FFF2-40B4-BE49-F238E27FC236}">
                  <a16:creationId xmlns:a16="http://schemas.microsoft.com/office/drawing/2014/main" id="{F83FF90E-9E91-43D2-9256-FDBD4C982E56}"/>
                </a:ext>
              </a:extLst>
            </p:cNvPr>
            <p:cNvSpPr/>
            <p:nvPr/>
          </p:nvSpPr>
          <p:spPr>
            <a:xfrm>
              <a:off x="1114847" y="3119212"/>
              <a:ext cx="1020983" cy="1223441"/>
            </a:xfrm>
            <a:prstGeom prst="roundRect">
              <a:avLst>
                <a:gd name="adj" fmla="val 3783"/>
              </a:avLst>
            </a:prstGeom>
            <a:gradFill>
              <a:gsLst>
                <a:gs pos="0">
                  <a:srgbClr val="233476"/>
                </a:gs>
                <a:gs pos="50000">
                  <a:srgbClr val="1E335D"/>
                </a:gs>
                <a:gs pos="100000">
                  <a:srgbClr val="1A2F4B"/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Executor 0</a:t>
              </a:r>
            </a:p>
          </p:txBody>
        </p:sp>
        <p:sp>
          <p:nvSpPr>
            <p:cNvPr id="66" name="Rectangle : coins arrondis 65">
              <a:extLst>
                <a:ext uri="{FF2B5EF4-FFF2-40B4-BE49-F238E27FC236}">
                  <a16:creationId xmlns:a16="http://schemas.microsoft.com/office/drawing/2014/main" id="{D5AFC624-AD32-45B8-854F-76371679EC63}"/>
                </a:ext>
              </a:extLst>
            </p:cNvPr>
            <p:cNvSpPr/>
            <p:nvPr/>
          </p:nvSpPr>
          <p:spPr>
            <a:xfrm>
              <a:off x="2509307" y="3119212"/>
              <a:ext cx="1020983" cy="1223441"/>
            </a:xfrm>
            <a:prstGeom prst="roundRect">
              <a:avLst>
                <a:gd name="adj" fmla="val 3783"/>
              </a:avLst>
            </a:prstGeom>
            <a:gradFill>
              <a:gsLst>
                <a:gs pos="0">
                  <a:srgbClr val="233476"/>
                </a:gs>
                <a:gs pos="50000">
                  <a:srgbClr val="1E335D"/>
                </a:gs>
                <a:gs pos="100000">
                  <a:srgbClr val="1A2F4B"/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Executor 1</a:t>
              </a:r>
            </a:p>
          </p:txBody>
        </p:sp>
        <p:sp>
          <p:nvSpPr>
            <p:cNvPr id="67" name="Rectangle : coins arrondis 66">
              <a:extLst>
                <a:ext uri="{FF2B5EF4-FFF2-40B4-BE49-F238E27FC236}">
                  <a16:creationId xmlns:a16="http://schemas.microsoft.com/office/drawing/2014/main" id="{3884E1D3-0C19-4B09-A448-4B6F67AA77FE}"/>
                </a:ext>
              </a:extLst>
            </p:cNvPr>
            <p:cNvSpPr/>
            <p:nvPr/>
          </p:nvSpPr>
          <p:spPr>
            <a:xfrm>
              <a:off x="10056169" y="3119211"/>
              <a:ext cx="1020983" cy="1223441"/>
            </a:xfrm>
            <a:prstGeom prst="roundRect">
              <a:avLst>
                <a:gd name="adj" fmla="val 3783"/>
              </a:avLst>
            </a:prstGeom>
            <a:gradFill>
              <a:gsLst>
                <a:gs pos="0">
                  <a:srgbClr val="233476"/>
                </a:gs>
                <a:gs pos="50000">
                  <a:srgbClr val="1E335D"/>
                </a:gs>
                <a:gs pos="100000">
                  <a:srgbClr val="1A2F4B"/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Executor 99</a:t>
              </a:r>
            </a:p>
          </p:txBody>
        </p:sp>
        <p:cxnSp>
          <p:nvCxnSpPr>
            <p:cNvPr id="68" name="Connecteur droit 67">
              <a:extLst>
                <a:ext uri="{FF2B5EF4-FFF2-40B4-BE49-F238E27FC236}">
                  <a16:creationId xmlns:a16="http://schemas.microsoft.com/office/drawing/2014/main" id="{B62C4438-4162-4473-A963-50BF58747F37}"/>
                </a:ext>
              </a:extLst>
            </p:cNvPr>
            <p:cNvCxnSpPr/>
            <p:nvPr/>
          </p:nvCxnSpPr>
          <p:spPr>
            <a:xfrm>
              <a:off x="3939540" y="3730931"/>
              <a:ext cx="5707380" cy="0"/>
            </a:xfrm>
            <a:prstGeom prst="line">
              <a:avLst/>
            </a:prstGeom>
            <a:ln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ZoneTexte 68">
              <a:extLst>
                <a:ext uri="{FF2B5EF4-FFF2-40B4-BE49-F238E27FC236}">
                  <a16:creationId xmlns:a16="http://schemas.microsoft.com/office/drawing/2014/main" id="{B16CF326-FE89-4A87-8FA6-FF3293592646}"/>
                </a:ext>
              </a:extLst>
            </p:cNvPr>
            <p:cNvSpPr txBox="1"/>
            <p:nvPr/>
          </p:nvSpPr>
          <p:spPr>
            <a:xfrm>
              <a:off x="5187616" y="3269266"/>
              <a:ext cx="3375668" cy="12003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fr-FR" i="1" dirty="0" err="1"/>
                <a:t>spark.executor.instances</a:t>
              </a:r>
              <a:r>
                <a:rPr lang="fr-FR" i="1" dirty="0"/>
                <a:t> = 100</a:t>
              </a:r>
            </a:p>
            <a:p>
              <a:r>
                <a:rPr lang="fr-FR" i="1" dirty="0" err="1"/>
                <a:t>spark.executor.cores</a:t>
              </a:r>
              <a:r>
                <a:rPr lang="fr-FR" i="1" dirty="0"/>
                <a:t> = 1</a:t>
              </a:r>
            </a:p>
            <a:p>
              <a:r>
                <a:rPr lang="fr-FR" i="1" dirty="0" err="1"/>
                <a:t>spark.executor.memory</a:t>
              </a:r>
              <a:r>
                <a:rPr lang="fr-FR" i="1" dirty="0"/>
                <a:t> = 4GB</a:t>
              </a:r>
            </a:p>
            <a:p>
              <a:r>
                <a:rPr lang="fr-FR" i="1" dirty="0" err="1"/>
                <a:t>spark.driver.memory</a:t>
              </a:r>
              <a:r>
                <a:rPr lang="fr-FR" i="1" dirty="0"/>
                <a:t> = 16GB</a:t>
              </a:r>
            </a:p>
          </p:txBody>
        </p:sp>
      </p:grpSp>
      <p:grpSp>
        <p:nvGrpSpPr>
          <p:cNvPr id="73" name="Groupe 72">
            <a:extLst>
              <a:ext uri="{FF2B5EF4-FFF2-40B4-BE49-F238E27FC236}">
                <a16:creationId xmlns:a16="http://schemas.microsoft.com/office/drawing/2014/main" id="{697DD15F-0FEA-4584-B158-2A63E8CE1AB9}"/>
              </a:ext>
            </a:extLst>
          </p:cNvPr>
          <p:cNvGrpSpPr/>
          <p:nvPr/>
        </p:nvGrpSpPr>
        <p:grpSpPr>
          <a:xfrm>
            <a:off x="3446063" y="1461749"/>
            <a:ext cx="6934398" cy="1081759"/>
            <a:chOff x="3446063" y="1461749"/>
            <a:chExt cx="6934398" cy="1081759"/>
          </a:xfrm>
        </p:grpSpPr>
        <p:sp>
          <p:nvSpPr>
            <p:cNvPr id="71" name="Rectangle : coins arrondis 70">
              <a:extLst>
                <a:ext uri="{FF2B5EF4-FFF2-40B4-BE49-F238E27FC236}">
                  <a16:creationId xmlns:a16="http://schemas.microsoft.com/office/drawing/2014/main" id="{B1F4CDFE-E8F5-4FE8-962F-7BECA68A91BC}"/>
                </a:ext>
              </a:extLst>
            </p:cNvPr>
            <p:cNvSpPr/>
            <p:nvPr/>
          </p:nvSpPr>
          <p:spPr>
            <a:xfrm>
              <a:off x="3446063" y="1461749"/>
              <a:ext cx="5223673" cy="1081759"/>
            </a:xfrm>
            <a:prstGeom prst="roundRect">
              <a:avLst>
                <a:gd name="adj" fmla="val 3783"/>
              </a:avLst>
            </a:prstGeom>
            <a:gradFill>
              <a:gsLst>
                <a:gs pos="0">
                  <a:srgbClr val="233476"/>
                </a:gs>
                <a:gs pos="50000">
                  <a:srgbClr val="1E335D"/>
                </a:gs>
                <a:gs pos="100000">
                  <a:srgbClr val="1A2F4B"/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river</a:t>
              </a:r>
            </a:p>
          </p:txBody>
        </p:sp>
        <p:sp>
          <p:nvSpPr>
            <p:cNvPr id="72" name="ZoneTexte 71">
              <a:extLst>
                <a:ext uri="{FF2B5EF4-FFF2-40B4-BE49-F238E27FC236}">
                  <a16:creationId xmlns:a16="http://schemas.microsoft.com/office/drawing/2014/main" id="{F85B6687-C249-4B87-9CDC-A06DCD04F0C5}"/>
                </a:ext>
              </a:extLst>
            </p:cNvPr>
            <p:cNvSpPr txBox="1"/>
            <p:nvPr/>
          </p:nvSpPr>
          <p:spPr>
            <a:xfrm>
              <a:off x="8669736" y="1858575"/>
              <a:ext cx="17107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i="1" dirty="0"/>
                <a:t>(cluster mode)</a:t>
              </a:r>
            </a:p>
          </p:txBody>
        </p:sp>
      </p:grpSp>
      <p:grpSp>
        <p:nvGrpSpPr>
          <p:cNvPr id="80" name="Groupe 79">
            <a:extLst>
              <a:ext uri="{FF2B5EF4-FFF2-40B4-BE49-F238E27FC236}">
                <a16:creationId xmlns:a16="http://schemas.microsoft.com/office/drawing/2014/main" id="{4179941E-32BD-4BE5-80D4-CB4DCDA1C8C0}"/>
              </a:ext>
            </a:extLst>
          </p:cNvPr>
          <p:cNvGrpSpPr/>
          <p:nvPr/>
        </p:nvGrpSpPr>
        <p:grpSpPr>
          <a:xfrm>
            <a:off x="1162092" y="2589526"/>
            <a:ext cx="5323328" cy="2885588"/>
            <a:chOff x="1162092" y="2589526"/>
            <a:chExt cx="5323328" cy="2885588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3B75F80-D6FC-4769-B99A-C8C0E8C534E1}"/>
                </a:ext>
              </a:extLst>
            </p:cNvPr>
            <p:cNvSpPr/>
            <p:nvPr/>
          </p:nvSpPr>
          <p:spPr>
            <a:xfrm>
              <a:off x="5706576" y="2589526"/>
              <a:ext cx="778844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0</a:t>
              </a:r>
            </a:p>
          </p:txBody>
        </p:sp>
        <p:cxnSp>
          <p:nvCxnSpPr>
            <p:cNvPr id="77" name="Connecteur : en angle 76">
              <a:extLst>
                <a:ext uri="{FF2B5EF4-FFF2-40B4-BE49-F238E27FC236}">
                  <a16:creationId xmlns:a16="http://schemas.microsoft.com/office/drawing/2014/main" id="{2965246A-CCE9-46AC-BA9F-982924E242A0}"/>
                </a:ext>
              </a:extLst>
            </p:cNvPr>
            <p:cNvCxnSpPr>
              <a:cxnSpLocks/>
              <a:stCxn id="74" idx="1"/>
            </p:cNvCxnSpPr>
            <p:nvPr/>
          </p:nvCxnSpPr>
          <p:spPr>
            <a:xfrm rot="10800000" flipV="1">
              <a:off x="1162092" y="2813979"/>
              <a:ext cx="4544485" cy="2661135"/>
            </a:xfrm>
            <a:prstGeom prst="bentConnector3">
              <a:avLst>
                <a:gd name="adj1" fmla="val 10503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eur : en angle 78">
              <a:extLst>
                <a:ext uri="{FF2B5EF4-FFF2-40B4-BE49-F238E27FC236}">
                  <a16:creationId xmlns:a16="http://schemas.microsoft.com/office/drawing/2014/main" id="{5A1963AC-F364-4481-9070-E5AF52AF102A}"/>
                </a:ext>
              </a:extLst>
            </p:cNvPr>
            <p:cNvCxnSpPr>
              <a:stCxn id="74" idx="2"/>
              <a:endCxn id="65" idx="0"/>
            </p:cNvCxnSpPr>
            <p:nvPr/>
          </p:nvCxnSpPr>
          <p:spPr>
            <a:xfrm rot="5400000">
              <a:off x="3820280" y="843493"/>
              <a:ext cx="80779" cy="4470659"/>
            </a:xfrm>
            <a:prstGeom prst="bentConnector3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4782E59D-1C3A-466D-8137-82B7FDED23D9}"/>
              </a:ext>
            </a:extLst>
          </p:cNvPr>
          <p:cNvSpPr/>
          <p:nvPr/>
        </p:nvSpPr>
        <p:spPr>
          <a:xfrm>
            <a:off x="1114847" y="4725737"/>
            <a:ext cx="9962305" cy="1995917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rgbClr val="FF0000"/>
                </a:solidFill>
              </a:rPr>
              <a:t>[</a:t>
            </a:r>
            <a:r>
              <a:rPr lang="fr-FR" sz="1600" dirty="0" err="1">
                <a:solidFill>
                  <a:srgbClr val="FF0000"/>
                </a:solidFill>
              </a:rPr>
              <a:t>j.doe@hadoop_gateway</a:t>
            </a:r>
            <a:r>
              <a:rPr lang="fr-FR" sz="1600" dirty="0">
                <a:solidFill>
                  <a:srgbClr val="FF0000"/>
                </a:solidFill>
              </a:rPr>
              <a:t>]$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hdfs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dfs</a:t>
            </a:r>
            <a:r>
              <a:rPr lang="fr-FR" sz="1600" dirty="0">
                <a:solidFill>
                  <a:schemeClr val="bg1"/>
                </a:solidFill>
              </a:rPr>
              <a:t> –ls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</a:p>
          <a:p>
            <a:r>
              <a:rPr lang="fr-FR" sz="1600" dirty="0" err="1">
                <a:solidFill>
                  <a:schemeClr val="bg1"/>
                </a:solidFill>
              </a:rPr>
              <a:t>Found</a:t>
            </a:r>
            <a:r>
              <a:rPr lang="fr-FR" sz="1600" dirty="0">
                <a:solidFill>
                  <a:schemeClr val="bg1"/>
                </a:solidFill>
              </a:rPr>
              <a:t> 10 000 items</a:t>
            </a:r>
          </a:p>
          <a:p>
            <a:r>
              <a:rPr lang="fr-FR" sz="1600" dirty="0">
                <a:solidFill>
                  <a:schemeClr val="bg1"/>
                </a:solidFill>
              </a:rPr>
              <a:t>-</a:t>
            </a:r>
            <a:r>
              <a:rPr lang="fr-FR" sz="1600" dirty="0" err="1">
                <a:solidFill>
                  <a:schemeClr val="bg1"/>
                </a:solidFill>
              </a:rPr>
              <a:t>rw</a:t>
            </a:r>
            <a:r>
              <a:rPr lang="fr-FR" sz="1600" dirty="0">
                <a:solidFill>
                  <a:schemeClr val="bg1"/>
                </a:solidFill>
              </a:rPr>
              <a:t>-r--r--   3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       1 640 000 000 2022-12-14 14:42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part1.csv</a:t>
            </a:r>
          </a:p>
          <a:p>
            <a:r>
              <a:rPr lang="fr-FR" sz="1600" dirty="0">
                <a:solidFill>
                  <a:schemeClr val="bg1"/>
                </a:solidFill>
              </a:rPr>
              <a:t>-</a:t>
            </a:r>
            <a:r>
              <a:rPr lang="fr-FR" sz="1600" dirty="0" err="1">
                <a:solidFill>
                  <a:schemeClr val="bg1"/>
                </a:solidFill>
              </a:rPr>
              <a:t>rw</a:t>
            </a:r>
            <a:r>
              <a:rPr lang="fr-FR" sz="1600" dirty="0">
                <a:solidFill>
                  <a:schemeClr val="bg1"/>
                </a:solidFill>
              </a:rPr>
              <a:t>-r--r--   3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       1 640 000 000 2022-12-14 14:42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part2.csv</a:t>
            </a:r>
          </a:p>
          <a:p>
            <a:r>
              <a:rPr lang="fr-FR" sz="1600" dirty="0">
                <a:solidFill>
                  <a:schemeClr val="bg1"/>
                </a:solidFill>
              </a:rPr>
              <a:t>-</a:t>
            </a:r>
            <a:r>
              <a:rPr lang="fr-FR" sz="1600" dirty="0" err="1">
                <a:solidFill>
                  <a:schemeClr val="bg1"/>
                </a:solidFill>
              </a:rPr>
              <a:t>rw</a:t>
            </a:r>
            <a:r>
              <a:rPr lang="fr-FR" sz="1600" dirty="0">
                <a:solidFill>
                  <a:schemeClr val="bg1"/>
                </a:solidFill>
              </a:rPr>
              <a:t>-r--r--   3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</a:t>
            </a:r>
            <a:r>
              <a:rPr lang="fr-FR" sz="1600" dirty="0" err="1">
                <a:solidFill>
                  <a:schemeClr val="bg1"/>
                </a:solidFill>
              </a:rPr>
              <a:t>owner</a:t>
            </a:r>
            <a:r>
              <a:rPr lang="fr-FR" sz="1600" dirty="0">
                <a:solidFill>
                  <a:schemeClr val="bg1"/>
                </a:solidFill>
              </a:rPr>
              <a:t>        1 640 000 000 2022-12-14 14:42 /</a:t>
            </a:r>
            <a:r>
              <a:rPr lang="fr-FR" sz="1600" dirty="0" err="1">
                <a:solidFill>
                  <a:schemeClr val="bg1"/>
                </a:solidFill>
              </a:rPr>
              <a:t>datasets</a:t>
            </a:r>
            <a:r>
              <a:rPr lang="fr-FR" sz="1600" dirty="0">
                <a:solidFill>
                  <a:schemeClr val="bg1"/>
                </a:solidFill>
              </a:rPr>
              <a:t>/</a:t>
            </a:r>
            <a:r>
              <a:rPr lang="fr-FR" sz="1600" dirty="0" err="1">
                <a:solidFill>
                  <a:schemeClr val="bg1"/>
                </a:solidFill>
              </a:rPr>
              <a:t>mydataset</a:t>
            </a:r>
            <a:r>
              <a:rPr lang="fr-FR" sz="1600" dirty="0">
                <a:solidFill>
                  <a:schemeClr val="bg1"/>
                </a:solidFill>
              </a:rPr>
              <a:t>/part3.csv</a:t>
            </a:r>
          </a:p>
          <a:p>
            <a:r>
              <a:rPr lang="fr-FR" sz="1600" dirty="0">
                <a:solidFill>
                  <a:schemeClr val="bg1"/>
                </a:solidFill>
              </a:rPr>
              <a:t>…</a:t>
            </a:r>
          </a:p>
        </p:txBody>
      </p:sp>
      <p:grpSp>
        <p:nvGrpSpPr>
          <p:cNvPr id="82" name="Groupe 81">
            <a:extLst>
              <a:ext uri="{FF2B5EF4-FFF2-40B4-BE49-F238E27FC236}">
                <a16:creationId xmlns:a16="http://schemas.microsoft.com/office/drawing/2014/main" id="{5BAEDC64-9D18-4A45-BC38-3294CF1A94EA}"/>
              </a:ext>
            </a:extLst>
          </p:cNvPr>
          <p:cNvGrpSpPr/>
          <p:nvPr/>
        </p:nvGrpSpPr>
        <p:grpSpPr>
          <a:xfrm>
            <a:off x="652171" y="2586337"/>
            <a:ext cx="10814402" cy="452096"/>
            <a:chOff x="652171" y="2586337"/>
            <a:chExt cx="10814402" cy="452096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19E8975-DA51-4CEE-9D75-1A77A6C319CC}"/>
                </a:ext>
              </a:extLst>
            </p:cNvPr>
            <p:cNvSpPr/>
            <p:nvPr/>
          </p:nvSpPr>
          <p:spPr>
            <a:xfrm>
              <a:off x="652171" y="2589526"/>
              <a:ext cx="778844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0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56667F95-33ED-47D5-A568-4C133118506C}"/>
                </a:ext>
              </a:extLst>
            </p:cNvPr>
            <p:cNvSpPr/>
            <p:nvPr/>
          </p:nvSpPr>
          <p:spPr>
            <a:xfrm>
              <a:off x="10355580" y="2589526"/>
              <a:ext cx="1110993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9999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AD449F0-0008-4F48-ABD7-12E5B48964BF}"/>
                </a:ext>
              </a:extLst>
            </p:cNvPr>
            <p:cNvSpPr/>
            <p:nvPr/>
          </p:nvSpPr>
          <p:spPr>
            <a:xfrm>
              <a:off x="1625338" y="2589526"/>
              <a:ext cx="778844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1</a:t>
              </a:r>
            </a:p>
          </p:txBody>
        </p:sp>
        <p:cxnSp>
          <p:nvCxnSpPr>
            <p:cNvPr id="86" name="Connecteur droit 85">
              <a:extLst>
                <a:ext uri="{FF2B5EF4-FFF2-40B4-BE49-F238E27FC236}">
                  <a16:creationId xmlns:a16="http://schemas.microsoft.com/office/drawing/2014/main" id="{38FB5EC8-080C-4B23-AFA5-351F6036BE4E}"/>
                </a:ext>
              </a:extLst>
            </p:cNvPr>
            <p:cNvCxnSpPr>
              <a:cxnSpLocks/>
            </p:cNvCxnSpPr>
            <p:nvPr/>
          </p:nvCxnSpPr>
          <p:spPr>
            <a:xfrm>
              <a:off x="2509307" y="2813979"/>
              <a:ext cx="7747213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77C4CD6-8BCF-46AB-B070-D2425E578B8C}"/>
                </a:ext>
              </a:extLst>
            </p:cNvPr>
            <p:cNvSpPr/>
            <p:nvPr/>
          </p:nvSpPr>
          <p:spPr>
            <a:xfrm>
              <a:off x="5374427" y="2589526"/>
              <a:ext cx="778845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9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65904E37-3320-4769-B0CF-0DB1AC5E6C1E}"/>
                </a:ext>
              </a:extLst>
            </p:cNvPr>
            <p:cNvSpPr/>
            <p:nvPr/>
          </p:nvSpPr>
          <p:spPr>
            <a:xfrm>
              <a:off x="8097829" y="2586337"/>
              <a:ext cx="1025688" cy="448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600" dirty="0" err="1">
                  <a:solidFill>
                    <a:schemeClr val="tx1"/>
                  </a:solidFill>
                </a:rPr>
                <a:t>Task</a:t>
              </a:r>
              <a:r>
                <a:rPr lang="fr-FR" sz="1600" dirty="0">
                  <a:solidFill>
                    <a:schemeClr val="tx1"/>
                  </a:solidFill>
                </a:rPr>
                <a:t> 200</a:t>
              </a:r>
            </a:p>
          </p:txBody>
        </p:sp>
      </p:grpSp>
      <p:grpSp>
        <p:nvGrpSpPr>
          <p:cNvPr id="93" name="Groupe 92">
            <a:extLst>
              <a:ext uri="{FF2B5EF4-FFF2-40B4-BE49-F238E27FC236}">
                <a16:creationId xmlns:a16="http://schemas.microsoft.com/office/drawing/2014/main" id="{A1008D9A-3A8F-4E8F-9D75-4AFDD7DD5039}"/>
              </a:ext>
            </a:extLst>
          </p:cNvPr>
          <p:cNvGrpSpPr/>
          <p:nvPr/>
        </p:nvGrpSpPr>
        <p:grpSpPr>
          <a:xfrm>
            <a:off x="652171" y="2813980"/>
            <a:ext cx="2367628" cy="3062239"/>
            <a:chOff x="652171" y="2813980"/>
            <a:chExt cx="2367628" cy="3062239"/>
          </a:xfrm>
        </p:grpSpPr>
        <p:cxnSp>
          <p:nvCxnSpPr>
            <p:cNvPr id="89" name="Connecteur : en angle 88">
              <a:extLst>
                <a:ext uri="{FF2B5EF4-FFF2-40B4-BE49-F238E27FC236}">
                  <a16:creationId xmlns:a16="http://schemas.microsoft.com/office/drawing/2014/main" id="{B842804B-95EE-4A78-9F54-B172069CAC8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652171" y="2813980"/>
              <a:ext cx="462674" cy="2824128"/>
            </a:xfrm>
            <a:prstGeom prst="bentConnector3">
              <a:avLst>
                <a:gd name="adj1" fmla="val -49408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Connecteur : en angle 89">
              <a:extLst>
                <a:ext uri="{FF2B5EF4-FFF2-40B4-BE49-F238E27FC236}">
                  <a16:creationId xmlns:a16="http://schemas.microsoft.com/office/drawing/2014/main" id="{39993099-E347-442A-823A-05D79E3D0DD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47851" y="4009310"/>
              <a:ext cx="2837787" cy="896032"/>
            </a:xfrm>
            <a:prstGeom prst="bentConnector4">
              <a:avLst>
                <a:gd name="adj1" fmla="val 48781"/>
                <a:gd name="adj2" fmla="val 125512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eur : en angle 90">
              <a:extLst>
                <a:ext uri="{FF2B5EF4-FFF2-40B4-BE49-F238E27FC236}">
                  <a16:creationId xmlns:a16="http://schemas.microsoft.com/office/drawing/2014/main" id="{D55B5737-C5B3-447F-8ADF-45C9E16242BB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31970" y="3348056"/>
              <a:ext cx="692500" cy="73254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necteur : en angle 91">
              <a:extLst>
                <a:ext uri="{FF2B5EF4-FFF2-40B4-BE49-F238E27FC236}">
                  <a16:creationId xmlns:a16="http://schemas.microsoft.com/office/drawing/2014/main" id="{586F2DFC-2111-4C9C-8B07-DD4E975D5905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476890" y="2576302"/>
              <a:ext cx="80779" cy="1005039"/>
            </a:xfrm>
            <a:prstGeom prst="bentConnector3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Groupe 96">
            <a:extLst>
              <a:ext uri="{FF2B5EF4-FFF2-40B4-BE49-F238E27FC236}">
                <a16:creationId xmlns:a16="http://schemas.microsoft.com/office/drawing/2014/main" id="{E838B404-2AFD-4BF3-B551-E04579C1021F}"/>
              </a:ext>
            </a:extLst>
          </p:cNvPr>
          <p:cNvGrpSpPr/>
          <p:nvPr/>
        </p:nvGrpSpPr>
        <p:grpSpPr>
          <a:xfrm>
            <a:off x="1041593" y="2250610"/>
            <a:ext cx="5239721" cy="338917"/>
            <a:chOff x="1041593" y="2250610"/>
            <a:chExt cx="5239721" cy="338917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FF3691C4-DF16-482C-986A-DB75BB3B7011}"/>
                </a:ext>
              </a:extLst>
            </p:cNvPr>
            <p:cNvSpPr/>
            <p:nvPr/>
          </p:nvSpPr>
          <p:spPr>
            <a:xfrm>
              <a:off x="3526648" y="2250610"/>
              <a:ext cx="956888" cy="2362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200" dirty="0" err="1">
                  <a:solidFill>
                    <a:schemeClr val="tx1"/>
                  </a:solidFill>
                </a:rPr>
                <a:t>Collected</a:t>
              </a:r>
              <a:r>
                <a:rPr lang="fr-FR" sz="1200" dirty="0">
                  <a:solidFill>
                    <a:schemeClr val="tx1"/>
                  </a:solidFill>
                </a:rPr>
                <a:t> 0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00F3358A-0C72-4135-A60B-27CCFB2F5981}"/>
                </a:ext>
              </a:extLst>
            </p:cNvPr>
            <p:cNvSpPr/>
            <p:nvPr/>
          </p:nvSpPr>
          <p:spPr>
            <a:xfrm>
              <a:off x="5324426" y="2250610"/>
              <a:ext cx="956888" cy="2362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200" dirty="0" err="1">
                  <a:solidFill>
                    <a:schemeClr val="tx1"/>
                  </a:solidFill>
                </a:rPr>
                <a:t>Collected</a:t>
              </a:r>
              <a:r>
                <a:rPr lang="fr-FR" sz="1200" dirty="0">
                  <a:solidFill>
                    <a:schemeClr val="tx1"/>
                  </a:solidFill>
                </a:rPr>
                <a:t> 9</a:t>
              </a:r>
            </a:p>
          </p:txBody>
        </p:sp>
        <p:cxnSp>
          <p:nvCxnSpPr>
            <p:cNvPr id="96" name="Connecteur : en angle 95">
              <a:extLst>
                <a:ext uri="{FF2B5EF4-FFF2-40B4-BE49-F238E27FC236}">
                  <a16:creationId xmlns:a16="http://schemas.microsoft.com/office/drawing/2014/main" id="{F05CA82F-8F73-4C39-BED3-EF5614DD516A}"/>
                </a:ext>
              </a:extLst>
            </p:cNvPr>
            <p:cNvCxnSpPr>
              <a:endCxn id="94" idx="1"/>
            </p:cNvCxnSpPr>
            <p:nvPr/>
          </p:nvCxnSpPr>
          <p:spPr>
            <a:xfrm rot="5400000" flipH="1" flipV="1">
              <a:off x="2173718" y="1236597"/>
              <a:ext cx="220805" cy="2485055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1A9DFB1F-72B5-4A7B-B831-4D623DB5E10D}"/>
              </a:ext>
            </a:extLst>
          </p:cNvPr>
          <p:cNvSpPr/>
          <p:nvPr/>
        </p:nvSpPr>
        <p:spPr>
          <a:xfrm>
            <a:off x="1543122" y="121764"/>
            <a:ext cx="9098280" cy="12115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 err="1">
                <a:solidFill>
                  <a:schemeClr val="tx1"/>
                </a:solidFill>
              </a:rPr>
              <a:t>res</a:t>
            </a:r>
            <a:r>
              <a:rPr lang="fr-FR" sz="1600" dirty="0">
                <a:solidFill>
                  <a:schemeClr val="tx1"/>
                </a:solidFill>
              </a:rPr>
              <a:t> = spark.read.csv(‘/</a:t>
            </a:r>
            <a:r>
              <a:rPr lang="fr-FR" sz="1600" dirty="0" err="1">
                <a:solidFill>
                  <a:schemeClr val="tx1"/>
                </a:solidFill>
              </a:rPr>
              <a:t>datasets</a:t>
            </a:r>
            <a:r>
              <a:rPr lang="fr-FR" sz="1600" dirty="0">
                <a:solidFill>
                  <a:schemeClr val="tx1"/>
                </a:solidFill>
              </a:rPr>
              <a:t>/</a:t>
            </a:r>
            <a:r>
              <a:rPr lang="fr-FR" sz="1600" dirty="0" err="1">
                <a:solidFill>
                  <a:schemeClr val="tx1"/>
                </a:solidFill>
              </a:rPr>
              <a:t>mydataset</a:t>
            </a:r>
            <a:r>
              <a:rPr lang="fr-FR" sz="1600" dirty="0">
                <a:solidFill>
                  <a:schemeClr val="tx1"/>
                </a:solidFill>
              </a:rPr>
              <a:t>/’)</a:t>
            </a:r>
          </a:p>
          <a:p>
            <a:r>
              <a:rPr lang="fr-FR" sz="1600" dirty="0">
                <a:solidFill>
                  <a:schemeClr val="tx1"/>
                </a:solidFill>
              </a:rPr>
              <a:t>	.</a:t>
            </a:r>
            <a:r>
              <a:rPr lang="fr-FR" sz="1600" dirty="0" err="1">
                <a:solidFill>
                  <a:schemeClr val="tx1"/>
                </a:solidFill>
              </a:rPr>
              <a:t>filter</a:t>
            </a:r>
            <a:r>
              <a:rPr lang="fr-FR" sz="1600" dirty="0">
                <a:solidFill>
                  <a:schemeClr val="tx1"/>
                </a:solidFill>
              </a:rPr>
              <a:t>(lambda x : x[‘</a:t>
            </a:r>
            <a:r>
              <a:rPr lang="fr-FR" sz="1600" dirty="0" err="1">
                <a:solidFill>
                  <a:schemeClr val="tx1"/>
                </a:solidFill>
              </a:rPr>
              <a:t>userId</a:t>
            </a:r>
            <a:r>
              <a:rPr lang="fr-FR" sz="1600" dirty="0">
                <a:solidFill>
                  <a:schemeClr val="tx1"/>
                </a:solidFill>
              </a:rPr>
              <a:t>’] == ‘</a:t>
            </a:r>
            <a:r>
              <a:rPr lang="fr-FR" sz="1600" dirty="0" err="1">
                <a:solidFill>
                  <a:schemeClr val="tx1"/>
                </a:solidFill>
              </a:rPr>
              <a:t>j.doe</a:t>
            </a:r>
            <a:r>
              <a:rPr lang="fr-FR" sz="1600" dirty="0">
                <a:solidFill>
                  <a:schemeClr val="tx1"/>
                </a:solidFill>
              </a:rPr>
              <a:t>’)</a:t>
            </a:r>
          </a:p>
          <a:p>
            <a:r>
              <a:rPr lang="fr-FR" sz="1600" dirty="0">
                <a:solidFill>
                  <a:schemeClr val="tx1"/>
                </a:solidFill>
              </a:rPr>
              <a:t>	.</a:t>
            </a:r>
            <a:r>
              <a:rPr lang="fr-FR" sz="1600" dirty="0" err="1">
                <a:solidFill>
                  <a:schemeClr val="tx1"/>
                </a:solidFill>
              </a:rPr>
              <a:t>collect</a:t>
            </a:r>
            <a:r>
              <a:rPr lang="fr-FR" sz="1600" dirty="0">
                <a:solidFill>
                  <a:schemeClr val="tx1"/>
                </a:solidFill>
              </a:rPr>
              <a:t>()</a:t>
            </a:r>
          </a:p>
        </p:txBody>
      </p:sp>
      <p:cxnSp>
        <p:nvCxnSpPr>
          <p:cNvPr id="99" name="Connecteur : en angle 98">
            <a:extLst>
              <a:ext uri="{FF2B5EF4-FFF2-40B4-BE49-F238E27FC236}">
                <a16:creationId xmlns:a16="http://schemas.microsoft.com/office/drawing/2014/main" id="{6A193969-487E-470B-AAF8-DF5FA2F8D484}"/>
              </a:ext>
            </a:extLst>
          </p:cNvPr>
          <p:cNvCxnSpPr>
            <a:cxnSpLocks/>
          </p:cNvCxnSpPr>
          <p:nvPr/>
        </p:nvCxnSpPr>
        <p:spPr>
          <a:xfrm rot="5400000">
            <a:off x="5161532" y="893511"/>
            <a:ext cx="1307409" cy="5590874"/>
          </a:xfrm>
          <a:prstGeom prst="bentConnector3">
            <a:avLst>
              <a:gd name="adj1" fmla="val 112239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034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64" grpId="0" animBg="1"/>
      <p:bldP spid="81" grpId="0" animBg="1"/>
      <p:bldP spid="9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iteo Data &amp; Insights 2021 - Sunris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riteo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PowerPoint-2019" id="{EBF76EDA-420A-F64E-A9BE-54736C28FD53}" vid="{F9263D1A-E365-1343-BDF1-D133FA64F06B}"/>
    </a:ext>
  </a:extLst>
</a:theme>
</file>

<file path=ppt/theme/theme2.xml><?xml version="1.0" encoding="utf-8"?>
<a:theme xmlns:a="http://schemas.openxmlformats.org/drawingml/2006/main" name="1_Criteo-PowerPoint-2019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riteo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PowerPoint-2019" id="{EBF76EDA-420A-F64E-A9BE-54736C28FD53}" vid="{F9263D1A-E365-1343-BDF1-D133FA64F06B}"/>
    </a:ext>
  </a:extLst>
</a:theme>
</file>

<file path=ppt/theme/theme3.xml><?xml version="1.0" encoding="utf-8"?>
<a:theme xmlns:a="http://schemas.openxmlformats.org/drawingml/2006/main" name="Criteo Data &amp; Insights 2021 - Sunrise">
  <a:themeElements>
    <a:clrScheme name="Criteo Core 2021">
      <a:dk1>
        <a:srgbClr val="2A2E33"/>
      </a:dk1>
      <a:lt1>
        <a:srgbClr val="FFFFFF"/>
      </a:lt1>
      <a:dk2>
        <a:srgbClr val="FE5000"/>
      </a:dk2>
      <a:lt2>
        <a:srgbClr val="F8F9FB"/>
      </a:lt2>
      <a:accent1>
        <a:srgbClr val="5D0054"/>
      </a:accent1>
      <a:accent2>
        <a:srgbClr val="006CD6"/>
      </a:accent2>
      <a:accent3>
        <a:srgbClr val="D1D5E6"/>
      </a:accent3>
      <a:accent4>
        <a:srgbClr val="FFEDCC"/>
      </a:accent4>
      <a:accent5>
        <a:srgbClr val="DEF9BB"/>
      </a:accent5>
      <a:accent6>
        <a:srgbClr val="130183"/>
      </a:accent6>
      <a:hlink>
        <a:srgbClr val="FE5000"/>
      </a:hlink>
      <a:folHlink>
        <a:srgbClr val="727983"/>
      </a:folHlink>
    </a:clrScheme>
    <a:fontScheme name="Criteo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PowerPoint-2019" id="{EBF76EDA-420A-F64E-A9BE-54736C28FD53}" vid="{F9263D1A-E365-1343-BDF1-D133FA64F06B}"/>
    </a:ext>
  </a:extLst>
</a:theme>
</file>

<file path=ppt/theme/theme4.xml><?xml version="1.0" encoding="utf-8"?>
<a:theme xmlns:a="http://schemas.openxmlformats.org/drawingml/2006/main" name="1_Criteo-PowerPoint-2019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entury Gothic-Palatino Linotype">
      <a:majorFont>
        <a:latin typeface="Century Gothic" panose="020B0502020202020204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 panose="02040502050505030304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PPT-Template-Data-Insights" id="{912C42A1-8344-B244-86C9-AB3590E6B26C}" vid="{9D6E90B5-F21C-0740-A81C-F0354DA33F8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3</Words>
  <Application>Microsoft Office PowerPoint</Application>
  <PresentationFormat>Grand écran</PresentationFormat>
  <Paragraphs>38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</vt:i4>
      </vt:variant>
    </vt:vector>
  </HeadingPairs>
  <TitlesOfParts>
    <vt:vector size="13" baseType="lpstr">
      <vt:lpstr>Arial</vt:lpstr>
      <vt:lpstr>Calibri</vt:lpstr>
      <vt:lpstr>Century Gothic</vt:lpstr>
      <vt:lpstr>Hurme Geometric Sans 4</vt:lpstr>
      <vt:lpstr>Hurme Geometric Sans 4 Bold</vt:lpstr>
      <vt:lpstr>HurmeGeometricSans1 Regular</vt:lpstr>
      <vt:lpstr>Criteo Data &amp; Insights 2021 - Sunrise</vt:lpstr>
      <vt:lpstr>1_Criteo-PowerPoint-2019</vt:lpstr>
      <vt:lpstr>Criteo Data &amp; Insights 2021 - Sunrise</vt:lpstr>
      <vt:lpstr>1_Criteo-PowerPoint-2019</vt:lpstr>
      <vt:lpstr>think-cell Slide</vt:lpstr>
      <vt:lpstr>Diapositive think-cell</vt:lpstr>
      <vt:lpstr>Présentation PowerPoint</vt:lpstr>
    </vt:vector>
  </TitlesOfParts>
  <Company>CRITE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lles Villalva</dc:creator>
  <cp:lastModifiedBy>David Diebold</cp:lastModifiedBy>
  <cp:revision>444</cp:revision>
  <dcterms:created xsi:type="dcterms:W3CDTF">2017-03-26T17:15:29Z</dcterms:created>
  <dcterms:modified xsi:type="dcterms:W3CDTF">2022-12-15T08:20:21Z</dcterms:modified>
</cp:coreProperties>
</file>